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3.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4.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5.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6.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7.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8.xml" ContentType="application/vnd.openxmlformats-officedocument.theme+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9.xml" ContentType="application/vnd.openxmlformats-officedocument.theme+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0.xml" ContentType="application/vnd.openxmlformats-officedocument.theme+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theme/theme11.xml" ContentType="application/vnd.openxmlformats-officedocument.theme+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theme/theme12.xml" ContentType="application/vnd.openxmlformats-officedocument.theme+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theme/theme14.xml" ContentType="application/vnd.openxmlformats-officedocument.theme+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theme/theme15.xml" ContentType="application/vnd.openxmlformats-officedocument.theme+xml"/>
  <Override PartName="/ppt/tags/tag2.xml" ContentType="application/vnd.openxmlformats-officedocument.presentationml.tags+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theme/theme16.xml" ContentType="application/vnd.openxmlformats-officedocument.theme+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theme/theme17.xml" ContentType="application/vnd.openxmlformats-officedocument.theme+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theme/theme18.xml" ContentType="application/vnd.openxmlformats-officedocument.theme+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theme/theme19.xml" ContentType="application/vnd.openxmlformats-officedocument.theme+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ink/ink1.xml" ContentType="application/inkml+xml"/>
  <Override PartName="/ppt/notesSlides/notesSlide11.xml" ContentType="application/vnd.openxmlformats-officedocument.presentationml.notesSlide+xml"/>
  <Override PartName="/ppt/ink/ink2.xml" ContentType="application/inkml+xml"/>
  <Override PartName="/ppt/ink/ink3.xml" ContentType="application/inkml+xml"/>
  <Override PartName="/ppt/ink/ink4.xml" ContentType="application/inkml+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ink/ink5.xml" ContentType="application/inkml+xml"/>
  <Override PartName="/ppt/ink/ink6.xml" ContentType="application/inkml+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596" r:id="rId4"/>
    <p:sldMasterId id="2147483762" r:id="rId5"/>
    <p:sldMasterId id="2147485638" r:id="rId6"/>
    <p:sldMasterId id="2147485672" r:id="rId7"/>
    <p:sldMasterId id="2147485732" r:id="rId8"/>
    <p:sldMasterId id="2147485765" r:id="rId9"/>
    <p:sldMasterId id="2147485809" r:id="rId10"/>
    <p:sldMasterId id="2147485859" r:id="rId11"/>
    <p:sldMasterId id="2147485874" r:id="rId12"/>
    <p:sldMasterId id="2147485913" r:id="rId13"/>
    <p:sldMasterId id="2147485944" r:id="rId14"/>
    <p:sldMasterId id="2147486013" r:id="rId15"/>
    <p:sldMasterId id="2147486047" r:id="rId16"/>
    <p:sldMasterId id="2147486069" r:id="rId17"/>
    <p:sldMasterId id="2147486105" r:id="rId18"/>
    <p:sldMasterId id="2147486127" r:id="rId19"/>
    <p:sldMasterId id="2147486163" r:id="rId20"/>
    <p:sldMasterId id="2147486189" r:id="rId21"/>
    <p:sldMasterId id="2147486225" r:id="rId22"/>
    <p:sldMasterId id="2147486281" r:id="rId23"/>
  </p:sldMasterIdLst>
  <p:notesMasterIdLst>
    <p:notesMasterId r:id="rId49"/>
  </p:notesMasterIdLst>
  <p:sldIdLst>
    <p:sldId id="2146846702" r:id="rId24"/>
    <p:sldId id="2146846746" r:id="rId25"/>
    <p:sldId id="2076137641" r:id="rId26"/>
    <p:sldId id="2146846748" r:id="rId27"/>
    <p:sldId id="2146846729" r:id="rId28"/>
    <p:sldId id="2146846730" r:id="rId29"/>
    <p:sldId id="2146846734" r:id="rId30"/>
    <p:sldId id="2076137627" r:id="rId31"/>
    <p:sldId id="2076137639" r:id="rId32"/>
    <p:sldId id="2076137631" r:id="rId33"/>
    <p:sldId id="2076137628" r:id="rId34"/>
    <p:sldId id="2076137633" r:id="rId35"/>
    <p:sldId id="2076136723" r:id="rId36"/>
    <p:sldId id="2076136724" r:id="rId37"/>
    <p:sldId id="2076136725" r:id="rId38"/>
    <p:sldId id="2076136726" r:id="rId39"/>
    <p:sldId id="2076136727" r:id="rId40"/>
    <p:sldId id="10627" r:id="rId41"/>
    <p:sldId id="2076137514" r:id="rId42"/>
    <p:sldId id="2146846738" r:id="rId43"/>
    <p:sldId id="2146846747" r:id="rId44"/>
    <p:sldId id="2146846740" r:id="rId45"/>
    <p:sldId id="2146846739" r:id="rId46"/>
    <p:sldId id="2146846745" r:id="rId47"/>
    <p:sldId id="2146846741"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201C3B4-608A-4051-946E-CA6CB3CC016F}">
          <p14:sldIdLst>
            <p14:sldId id="2146846702"/>
            <p14:sldId id="2146846746"/>
            <p14:sldId id="2076137641"/>
            <p14:sldId id="2146846748"/>
            <p14:sldId id="2146846729"/>
            <p14:sldId id="2146846730"/>
            <p14:sldId id="2146846734"/>
            <p14:sldId id="2076137627"/>
            <p14:sldId id="2076137639"/>
            <p14:sldId id="2076137631"/>
            <p14:sldId id="2076137628"/>
            <p14:sldId id="2076137633"/>
            <p14:sldId id="2076136723"/>
            <p14:sldId id="2076136724"/>
            <p14:sldId id="2076136725"/>
            <p14:sldId id="2076136726"/>
            <p14:sldId id="2076136727"/>
            <p14:sldId id="10627"/>
            <p14:sldId id="2076137514"/>
            <p14:sldId id="2146846738"/>
            <p14:sldId id="2146846747"/>
            <p14:sldId id="2146846740"/>
            <p14:sldId id="2146846739"/>
            <p14:sldId id="2146846745"/>
            <p14:sldId id="214684674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c Freeman" initials="MF" lastIdx="11" clrIdx="0">
    <p:extLst>
      <p:ext uri="{19B8F6BF-5375-455C-9EA6-DF929625EA0E}">
        <p15:presenceInfo xmlns:p15="http://schemas.microsoft.com/office/powerpoint/2012/main" userId="121e402a363cbb7f" providerId="Windows Live"/>
      </p:ext>
    </p:extLst>
  </p:cmAuthor>
  <p:cmAuthor id="2" name="Marc Freeman" initials="MF [2]" lastIdx="1" clrIdx="1">
    <p:extLst>
      <p:ext uri="{19B8F6BF-5375-455C-9EA6-DF929625EA0E}">
        <p15:presenceInfo xmlns:p15="http://schemas.microsoft.com/office/powerpoint/2012/main" userId="Marc Freem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1D4B7A"/>
    <a:srgbClr val="195A98"/>
    <a:srgbClr val="1B2C45"/>
    <a:srgbClr val="3030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38" autoAdjust="0"/>
    <p:restoredTop sz="75055" autoAdjust="0"/>
  </p:normalViewPr>
  <p:slideViewPr>
    <p:cSldViewPr snapToGrid="0">
      <p:cViewPr varScale="1">
        <p:scale>
          <a:sx n="87" d="100"/>
          <a:sy n="87" d="100"/>
        </p:scale>
        <p:origin x="1260"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3.xml"/><Relationship Id="rId39" Type="http://schemas.openxmlformats.org/officeDocument/2006/relationships/slide" Target="slides/slide16.xml"/><Relationship Id="rId21" Type="http://schemas.openxmlformats.org/officeDocument/2006/relationships/slideMaster" Target="slideMasters/slideMaster18.xml"/><Relationship Id="rId34" Type="http://schemas.openxmlformats.org/officeDocument/2006/relationships/slide" Target="slides/slide11.xml"/><Relationship Id="rId42" Type="http://schemas.openxmlformats.org/officeDocument/2006/relationships/slide" Target="slides/slide19.xml"/><Relationship Id="rId47" Type="http://schemas.openxmlformats.org/officeDocument/2006/relationships/slide" Target="slides/slide24.xml"/><Relationship Id="rId50"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6.xml"/><Relationship Id="rId11" Type="http://schemas.openxmlformats.org/officeDocument/2006/relationships/slideMaster" Target="slideMasters/slideMaster8.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slide" Target="slides/slide14.xml"/><Relationship Id="rId40" Type="http://schemas.openxmlformats.org/officeDocument/2006/relationships/slide" Target="slides/slide17.xml"/><Relationship Id="rId45" Type="http://schemas.openxmlformats.org/officeDocument/2006/relationships/slide" Target="slides/slide22.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8.xml"/><Relationship Id="rId44" Type="http://schemas.openxmlformats.org/officeDocument/2006/relationships/slide" Target="slides/slide21.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slide" Target="slides/slide20.xml"/><Relationship Id="rId48" Type="http://schemas.openxmlformats.org/officeDocument/2006/relationships/slide" Target="slides/slide25.xml"/><Relationship Id="rId8" Type="http://schemas.openxmlformats.org/officeDocument/2006/relationships/slideMaster" Target="slideMasters/slideMaster5.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slide" Target="slides/slide23.xml"/><Relationship Id="rId20" Type="http://schemas.openxmlformats.org/officeDocument/2006/relationships/slideMaster" Target="slideMasters/slideMaster17.xml"/><Relationship Id="rId41" Type="http://schemas.openxmlformats.org/officeDocument/2006/relationships/slide" Target="slides/slide18.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notesMaster" Target="notesMasters/notesMaster1.xml"/></Relationships>
</file>

<file path=ppt/diagrams/_rels/data1.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svg"/><Relationship Id="rId1" Type="http://schemas.openxmlformats.org/officeDocument/2006/relationships/image" Target="../media/image153.png"/><Relationship Id="rId4" Type="http://schemas.openxmlformats.org/officeDocument/2006/relationships/image" Target="../media/image156.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svg"/><Relationship Id="rId1" Type="http://schemas.openxmlformats.org/officeDocument/2006/relationships/image" Target="../media/image153.png"/><Relationship Id="rId4" Type="http://schemas.openxmlformats.org/officeDocument/2006/relationships/image" Target="../media/image156.svg"/></Relationships>
</file>

<file path=ppt/diagrams/colors1.xml><?xml version="1.0" encoding="utf-8"?>
<dgm:colorsDef xmlns:dgm="http://schemas.openxmlformats.org/drawingml/2006/diagram" xmlns:a="http://schemas.openxmlformats.org/drawingml/2006/main" uniqueId="urn:microsoft.com/office/officeart/2018/5/colors/Iconchunking_neutralbg_accent5_2">
  <dgm:title val=""/>
  <dgm:desc val=""/>
  <dgm:catLst>
    <dgm:cat type="accent5" pri="15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a:alpha val="0"/>
      </a:schemeClr>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4652E4F-94C7-446E-AD0B-B84B333AB219}" type="doc">
      <dgm:prSet loTypeId="urn:microsoft.com/office/officeart/2018/2/layout/IconVerticalSolidList" loCatId="icon" qsTypeId="urn:microsoft.com/office/officeart/2005/8/quickstyle/simple1" qsCatId="simple" csTypeId="urn:microsoft.com/office/officeart/2018/5/colors/Iconchunking_neutralbg_accent5_2" csCatId="accent5" phldr="1"/>
      <dgm:spPr/>
      <dgm:t>
        <a:bodyPr/>
        <a:lstStyle/>
        <a:p>
          <a:endParaRPr lang="en-US"/>
        </a:p>
      </dgm:t>
    </dgm:pt>
    <dgm:pt modelId="{9698A2E4-09B3-49CC-9CCF-EF70DA0D0A99}">
      <dgm:prSet/>
      <dgm:spPr/>
      <dgm:t>
        <a:bodyPr/>
        <a:lstStyle/>
        <a:p>
          <a:pPr>
            <a:lnSpc>
              <a:spcPct val="100000"/>
            </a:lnSpc>
          </a:pPr>
          <a:r>
            <a:rPr lang="en-US"/>
            <a:t>Provisioning Setup = Pre-registration + Device Assignment</a:t>
          </a:r>
        </a:p>
      </dgm:t>
    </dgm:pt>
    <dgm:pt modelId="{7D04CF4A-01B0-44BB-83ED-6447802BF26A}" type="parTrans" cxnId="{AC478375-43B7-4C09-AAC7-87AF375021A6}">
      <dgm:prSet/>
      <dgm:spPr/>
      <dgm:t>
        <a:bodyPr/>
        <a:lstStyle/>
        <a:p>
          <a:endParaRPr lang="en-US"/>
        </a:p>
      </dgm:t>
    </dgm:pt>
    <dgm:pt modelId="{852B0602-DEC6-40BE-81CB-15623D95421A}" type="sibTrans" cxnId="{AC478375-43B7-4C09-AAC7-87AF375021A6}">
      <dgm:prSet/>
      <dgm:spPr/>
      <dgm:t>
        <a:bodyPr/>
        <a:lstStyle/>
        <a:p>
          <a:endParaRPr lang="en-US"/>
        </a:p>
      </dgm:t>
    </dgm:pt>
    <dgm:pt modelId="{FCE3E67A-4ACE-43FE-B5F7-16A989CABBF2}">
      <dgm:prSet/>
      <dgm:spPr/>
      <dgm:t>
        <a:bodyPr/>
        <a:lstStyle/>
        <a:p>
          <a:pPr>
            <a:lnSpc>
              <a:spcPct val="100000"/>
            </a:lnSpc>
          </a:pPr>
          <a:r>
            <a:rPr lang="en-US"/>
            <a:t>Device Provisioning = Runtime assignment + Initial Set up</a:t>
          </a:r>
        </a:p>
      </dgm:t>
    </dgm:pt>
    <dgm:pt modelId="{636DA552-DEB3-4167-A99A-649E52DFA967}" type="parTrans" cxnId="{D5D593A7-7846-414E-A64E-A2E3A967F5D0}">
      <dgm:prSet/>
      <dgm:spPr/>
      <dgm:t>
        <a:bodyPr/>
        <a:lstStyle/>
        <a:p>
          <a:endParaRPr lang="en-US"/>
        </a:p>
      </dgm:t>
    </dgm:pt>
    <dgm:pt modelId="{CA8A9C2A-2573-4526-9BC8-53095C1CC5ED}" type="sibTrans" cxnId="{D5D593A7-7846-414E-A64E-A2E3A967F5D0}">
      <dgm:prSet/>
      <dgm:spPr/>
      <dgm:t>
        <a:bodyPr/>
        <a:lstStyle/>
        <a:p>
          <a:endParaRPr lang="en-US"/>
        </a:p>
      </dgm:t>
    </dgm:pt>
    <dgm:pt modelId="{6CB613E7-4486-4A01-A1C0-B5468A4B213E}" type="pres">
      <dgm:prSet presAssocID="{A4652E4F-94C7-446E-AD0B-B84B333AB219}" presName="root" presStyleCnt="0">
        <dgm:presLayoutVars>
          <dgm:dir/>
          <dgm:resizeHandles val="exact"/>
        </dgm:presLayoutVars>
      </dgm:prSet>
      <dgm:spPr/>
    </dgm:pt>
    <dgm:pt modelId="{7DF4AC3E-BF11-4442-AE40-AC6BE0CFAFFB}" type="pres">
      <dgm:prSet presAssocID="{9698A2E4-09B3-49CC-9CCF-EF70DA0D0A99}" presName="compNode" presStyleCnt="0"/>
      <dgm:spPr/>
    </dgm:pt>
    <dgm:pt modelId="{8C40626D-7510-4BA5-A366-97831DDFD4AB}" type="pres">
      <dgm:prSet presAssocID="{9698A2E4-09B3-49CC-9CCF-EF70DA0D0A99}" presName="bgRect" presStyleLbl="bgShp" presStyleIdx="0" presStyleCnt="2"/>
      <dgm:spPr>
        <a:solidFill>
          <a:schemeClr val="accent1">
            <a:lumMod val="75000"/>
          </a:schemeClr>
        </a:solidFill>
      </dgm:spPr>
    </dgm:pt>
    <dgm:pt modelId="{301572DA-4123-43C3-BE51-940615D62C0F}" type="pres">
      <dgm:prSet presAssocID="{9698A2E4-09B3-49CC-9CCF-EF70DA0D0A99}"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ser"/>
        </a:ext>
      </dgm:extLst>
    </dgm:pt>
    <dgm:pt modelId="{76F82061-8A7F-4733-AA70-5888B37D13A3}" type="pres">
      <dgm:prSet presAssocID="{9698A2E4-09B3-49CC-9CCF-EF70DA0D0A99}" presName="spaceRect" presStyleCnt="0"/>
      <dgm:spPr/>
    </dgm:pt>
    <dgm:pt modelId="{D64D4A35-92FA-401F-89E7-C4B05C1E7F69}" type="pres">
      <dgm:prSet presAssocID="{9698A2E4-09B3-49CC-9CCF-EF70DA0D0A99}" presName="parTx" presStyleLbl="revTx" presStyleIdx="0" presStyleCnt="2">
        <dgm:presLayoutVars>
          <dgm:chMax val="0"/>
          <dgm:chPref val="0"/>
        </dgm:presLayoutVars>
      </dgm:prSet>
      <dgm:spPr/>
    </dgm:pt>
    <dgm:pt modelId="{46A4A9F0-5A52-4887-8BDE-1E5DE3EB77BB}" type="pres">
      <dgm:prSet presAssocID="{852B0602-DEC6-40BE-81CB-15623D95421A}" presName="sibTrans" presStyleCnt="0"/>
      <dgm:spPr/>
    </dgm:pt>
    <dgm:pt modelId="{11D83F44-3F81-4D97-9410-73696A6090D4}" type="pres">
      <dgm:prSet presAssocID="{FCE3E67A-4ACE-43FE-B5F7-16A989CABBF2}" presName="compNode" presStyleCnt="0"/>
      <dgm:spPr/>
    </dgm:pt>
    <dgm:pt modelId="{927CDE25-3A09-45E7-AFB7-2B376DEE2D63}" type="pres">
      <dgm:prSet presAssocID="{FCE3E67A-4ACE-43FE-B5F7-16A989CABBF2}" presName="bgRect" presStyleLbl="bgShp" presStyleIdx="1" presStyleCnt="2"/>
      <dgm:spPr>
        <a:solidFill>
          <a:schemeClr val="accent1">
            <a:lumMod val="75000"/>
          </a:schemeClr>
        </a:solidFill>
      </dgm:spPr>
    </dgm:pt>
    <dgm:pt modelId="{77EB69CF-D80D-4587-B56B-390EA069EA4E}" type="pres">
      <dgm:prSet presAssocID="{FCE3E67A-4ACE-43FE-B5F7-16A989CABBF2}"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ckmark"/>
        </a:ext>
      </dgm:extLst>
    </dgm:pt>
    <dgm:pt modelId="{A0AF03FF-8624-472F-A397-89C60C11BE4B}" type="pres">
      <dgm:prSet presAssocID="{FCE3E67A-4ACE-43FE-B5F7-16A989CABBF2}" presName="spaceRect" presStyleCnt="0"/>
      <dgm:spPr/>
    </dgm:pt>
    <dgm:pt modelId="{E2D3861E-E1C1-46D2-943E-748EA1D8D5CC}" type="pres">
      <dgm:prSet presAssocID="{FCE3E67A-4ACE-43FE-B5F7-16A989CABBF2}" presName="parTx" presStyleLbl="revTx" presStyleIdx="1" presStyleCnt="2">
        <dgm:presLayoutVars>
          <dgm:chMax val="0"/>
          <dgm:chPref val="0"/>
        </dgm:presLayoutVars>
      </dgm:prSet>
      <dgm:spPr/>
    </dgm:pt>
  </dgm:ptLst>
  <dgm:cxnLst>
    <dgm:cxn modelId="{89CA8951-C2A8-430E-97AD-077956DBF8B4}" type="presOf" srcId="{FCE3E67A-4ACE-43FE-B5F7-16A989CABBF2}" destId="{E2D3861E-E1C1-46D2-943E-748EA1D8D5CC}" srcOrd="0" destOrd="0" presId="urn:microsoft.com/office/officeart/2018/2/layout/IconVerticalSolidList"/>
    <dgm:cxn modelId="{AC478375-43B7-4C09-AAC7-87AF375021A6}" srcId="{A4652E4F-94C7-446E-AD0B-B84B333AB219}" destId="{9698A2E4-09B3-49CC-9CCF-EF70DA0D0A99}" srcOrd="0" destOrd="0" parTransId="{7D04CF4A-01B0-44BB-83ED-6447802BF26A}" sibTransId="{852B0602-DEC6-40BE-81CB-15623D95421A}"/>
    <dgm:cxn modelId="{94594A9F-C429-4A8D-A192-3EAE08F5F63E}" type="presOf" srcId="{A4652E4F-94C7-446E-AD0B-B84B333AB219}" destId="{6CB613E7-4486-4A01-A1C0-B5468A4B213E}" srcOrd="0" destOrd="0" presId="urn:microsoft.com/office/officeart/2018/2/layout/IconVerticalSolidList"/>
    <dgm:cxn modelId="{D5D593A7-7846-414E-A64E-A2E3A967F5D0}" srcId="{A4652E4F-94C7-446E-AD0B-B84B333AB219}" destId="{FCE3E67A-4ACE-43FE-B5F7-16A989CABBF2}" srcOrd="1" destOrd="0" parTransId="{636DA552-DEB3-4167-A99A-649E52DFA967}" sibTransId="{CA8A9C2A-2573-4526-9BC8-53095C1CC5ED}"/>
    <dgm:cxn modelId="{E1F5C0C1-0F33-46D3-A05C-033D02472130}" type="presOf" srcId="{9698A2E4-09B3-49CC-9CCF-EF70DA0D0A99}" destId="{D64D4A35-92FA-401F-89E7-C4B05C1E7F69}" srcOrd="0" destOrd="0" presId="urn:microsoft.com/office/officeart/2018/2/layout/IconVerticalSolidList"/>
    <dgm:cxn modelId="{81373045-91C7-43D9-B46B-0A82810A2A78}" type="presParOf" srcId="{6CB613E7-4486-4A01-A1C0-B5468A4B213E}" destId="{7DF4AC3E-BF11-4442-AE40-AC6BE0CFAFFB}" srcOrd="0" destOrd="0" presId="urn:microsoft.com/office/officeart/2018/2/layout/IconVerticalSolidList"/>
    <dgm:cxn modelId="{3F75A479-0046-4608-B1F0-803D65F92444}" type="presParOf" srcId="{7DF4AC3E-BF11-4442-AE40-AC6BE0CFAFFB}" destId="{8C40626D-7510-4BA5-A366-97831DDFD4AB}" srcOrd="0" destOrd="0" presId="urn:microsoft.com/office/officeart/2018/2/layout/IconVerticalSolidList"/>
    <dgm:cxn modelId="{AD7B8AD7-9FEC-4DBD-A06C-C3E843608671}" type="presParOf" srcId="{7DF4AC3E-BF11-4442-AE40-AC6BE0CFAFFB}" destId="{301572DA-4123-43C3-BE51-940615D62C0F}" srcOrd="1" destOrd="0" presId="urn:microsoft.com/office/officeart/2018/2/layout/IconVerticalSolidList"/>
    <dgm:cxn modelId="{19E6FC90-1ADA-4788-91B0-19D28FFFE91E}" type="presParOf" srcId="{7DF4AC3E-BF11-4442-AE40-AC6BE0CFAFFB}" destId="{76F82061-8A7F-4733-AA70-5888B37D13A3}" srcOrd="2" destOrd="0" presId="urn:microsoft.com/office/officeart/2018/2/layout/IconVerticalSolidList"/>
    <dgm:cxn modelId="{B95A56B0-143B-4517-844C-A65CE5C022CA}" type="presParOf" srcId="{7DF4AC3E-BF11-4442-AE40-AC6BE0CFAFFB}" destId="{D64D4A35-92FA-401F-89E7-C4B05C1E7F69}" srcOrd="3" destOrd="0" presId="urn:microsoft.com/office/officeart/2018/2/layout/IconVerticalSolidList"/>
    <dgm:cxn modelId="{15BF3F18-53A2-4633-9AA6-907BD56E2A00}" type="presParOf" srcId="{6CB613E7-4486-4A01-A1C0-B5468A4B213E}" destId="{46A4A9F0-5A52-4887-8BDE-1E5DE3EB77BB}" srcOrd="1" destOrd="0" presId="urn:microsoft.com/office/officeart/2018/2/layout/IconVerticalSolidList"/>
    <dgm:cxn modelId="{02E5EE47-C25D-4F18-83F0-FE6EB39458AB}" type="presParOf" srcId="{6CB613E7-4486-4A01-A1C0-B5468A4B213E}" destId="{11D83F44-3F81-4D97-9410-73696A6090D4}" srcOrd="2" destOrd="0" presId="urn:microsoft.com/office/officeart/2018/2/layout/IconVerticalSolidList"/>
    <dgm:cxn modelId="{9A801E56-97AE-497B-95D4-609C64C5B7A3}" type="presParOf" srcId="{11D83F44-3F81-4D97-9410-73696A6090D4}" destId="{927CDE25-3A09-45E7-AFB7-2B376DEE2D63}" srcOrd="0" destOrd="0" presId="urn:microsoft.com/office/officeart/2018/2/layout/IconVerticalSolidList"/>
    <dgm:cxn modelId="{A44FA20D-97D0-4809-A0D2-A841A71A035E}" type="presParOf" srcId="{11D83F44-3F81-4D97-9410-73696A6090D4}" destId="{77EB69CF-D80D-4587-B56B-390EA069EA4E}" srcOrd="1" destOrd="0" presId="urn:microsoft.com/office/officeart/2018/2/layout/IconVerticalSolidList"/>
    <dgm:cxn modelId="{70A86290-A743-41F3-A087-0F4099E70F96}" type="presParOf" srcId="{11D83F44-3F81-4D97-9410-73696A6090D4}" destId="{A0AF03FF-8624-472F-A397-89C60C11BE4B}" srcOrd="2" destOrd="0" presId="urn:microsoft.com/office/officeart/2018/2/layout/IconVerticalSolidList"/>
    <dgm:cxn modelId="{3AA3440E-7B58-4F03-B2E1-2A0C03FFF11D}" type="presParOf" srcId="{11D83F44-3F81-4D97-9410-73696A6090D4}" destId="{E2D3861E-E1C1-46D2-943E-748EA1D8D5CC}"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40626D-7510-4BA5-A366-97831DDFD4AB}">
      <dsp:nvSpPr>
        <dsp:cNvPr id="0" name=""/>
        <dsp:cNvSpPr/>
      </dsp:nvSpPr>
      <dsp:spPr>
        <a:xfrm>
          <a:off x="0" y="706992"/>
          <a:ext cx="10514107" cy="1305216"/>
        </a:xfrm>
        <a:prstGeom prst="roundRect">
          <a:avLst>
            <a:gd name="adj" fmla="val 10000"/>
          </a:avLst>
        </a:prstGeom>
        <a:solidFill>
          <a:schemeClr val="accent1">
            <a:lumMod val="75000"/>
          </a:schemeClr>
        </a:solidFill>
        <a:ln>
          <a:noFill/>
        </a:ln>
        <a:effectLst/>
      </dsp:spPr>
      <dsp:style>
        <a:lnRef idx="0">
          <a:scrgbClr r="0" g="0" b="0"/>
        </a:lnRef>
        <a:fillRef idx="1">
          <a:scrgbClr r="0" g="0" b="0"/>
        </a:fillRef>
        <a:effectRef idx="0">
          <a:scrgbClr r="0" g="0" b="0"/>
        </a:effectRef>
        <a:fontRef idx="minor"/>
      </dsp:style>
    </dsp:sp>
    <dsp:sp modelId="{301572DA-4123-43C3-BE51-940615D62C0F}">
      <dsp:nvSpPr>
        <dsp:cNvPr id="0" name=""/>
        <dsp:cNvSpPr/>
      </dsp:nvSpPr>
      <dsp:spPr>
        <a:xfrm>
          <a:off x="394827" y="1000665"/>
          <a:ext cx="717868" cy="71786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64D4A35-92FA-401F-89E7-C4B05C1E7F69}">
      <dsp:nvSpPr>
        <dsp:cNvPr id="0" name=""/>
        <dsp:cNvSpPr/>
      </dsp:nvSpPr>
      <dsp:spPr>
        <a:xfrm>
          <a:off x="1507524" y="706992"/>
          <a:ext cx="9006583" cy="13052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8135" tIns="138135" rIns="138135" bIns="138135" numCol="1" spcCol="1270" anchor="ctr" anchorCtr="0">
          <a:noAutofit/>
        </a:bodyPr>
        <a:lstStyle/>
        <a:p>
          <a:pPr marL="0" lvl="0" indent="0" algn="l" defTabSz="1111250">
            <a:lnSpc>
              <a:spcPct val="100000"/>
            </a:lnSpc>
            <a:spcBef>
              <a:spcPct val="0"/>
            </a:spcBef>
            <a:spcAft>
              <a:spcPct val="35000"/>
            </a:spcAft>
            <a:buNone/>
          </a:pPr>
          <a:r>
            <a:rPr lang="en-US" sz="2500" kern="1200"/>
            <a:t>Provisioning Setup = Pre-registration + Device Assignment</a:t>
          </a:r>
        </a:p>
      </dsp:txBody>
      <dsp:txXfrm>
        <a:off x="1507524" y="706992"/>
        <a:ext cx="9006583" cy="1305216"/>
      </dsp:txXfrm>
    </dsp:sp>
    <dsp:sp modelId="{927CDE25-3A09-45E7-AFB7-2B376DEE2D63}">
      <dsp:nvSpPr>
        <dsp:cNvPr id="0" name=""/>
        <dsp:cNvSpPr/>
      </dsp:nvSpPr>
      <dsp:spPr>
        <a:xfrm>
          <a:off x="0" y="2338512"/>
          <a:ext cx="10514107" cy="1305216"/>
        </a:xfrm>
        <a:prstGeom prst="roundRect">
          <a:avLst>
            <a:gd name="adj" fmla="val 10000"/>
          </a:avLst>
        </a:prstGeom>
        <a:solidFill>
          <a:schemeClr val="accent1">
            <a:lumMod val="75000"/>
          </a:schemeClr>
        </a:solidFill>
        <a:ln>
          <a:noFill/>
        </a:ln>
        <a:effectLst/>
      </dsp:spPr>
      <dsp:style>
        <a:lnRef idx="0">
          <a:scrgbClr r="0" g="0" b="0"/>
        </a:lnRef>
        <a:fillRef idx="1">
          <a:scrgbClr r="0" g="0" b="0"/>
        </a:fillRef>
        <a:effectRef idx="0">
          <a:scrgbClr r="0" g="0" b="0"/>
        </a:effectRef>
        <a:fontRef idx="minor"/>
      </dsp:style>
    </dsp:sp>
    <dsp:sp modelId="{77EB69CF-D80D-4587-B56B-390EA069EA4E}">
      <dsp:nvSpPr>
        <dsp:cNvPr id="0" name=""/>
        <dsp:cNvSpPr/>
      </dsp:nvSpPr>
      <dsp:spPr>
        <a:xfrm>
          <a:off x="394827" y="2632186"/>
          <a:ext cx="717868" cy="71786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2D3861E-E1C1-46D2-943E-748EA1D8D5CC}">
      <dsp:nvSpPr>
        <dsp:cNvPr id="0" name=""/>
        <dsp:cNvSpPr/>
      </dsp:nvSpPr>
      <dsp:spPr>
        <a:xfrm>
          <a:off x="1507524" y="2338512"/>
          <a:ext cx="9006583" cy="13052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8135" tIns="138135" rIns="138135" bIns="138135" numCol="1" spcCol="1270" anchor="ctr" anchorCtr="0">
          <a:noAutofit/>
        </a:bodyPr>
        <a:lstStyle/>
        <a:p>
          <a:pPr marL="0" lvl="0" indent="0" algn="l" defTabSz="1111250">
            <a:lnSpc>
              <a:spcPct val="100000"/>
            </a:lnSpc>
            <a:spcBef>
              <a:spcPct val="0"/>
            </a:spcBef>
            <a:spcAft>
              <a:spcPct val="35000"/>
            </a:spcAft>
            <a:buNone/>
          </a:pPr>
          <a:r>
            <a:rPr lang="en-US" sz="2500" kern="1200"/>
            <a:t>Device Provisioning = Runtime assignment + Initial Set up</a:t>
          </a:r>
        </a:p>
      </dsp:txBody>
      <dsp:txXfrm>
        <a:off x="1507524" y="2338512"/>
        <a:ext cx="9006583" cy="1305216"/>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ax="7200" units="cm"/>
          <inkml:channel name="Y" type="integer" max="9600" units="cm"/>
          <inkml:channel name="F" type="integer" max="4096" units="dev"/>
          <inkml:channel name="T" type="integer" max="2.14748E9" units="dev"/>
        </inkml:traceFormat>
        <inkml:channelProperties>
          <inkml:channelProperty channel="X" name="resolution" value="378.54889" units="1/cm"/>
          <inkml:channelProperty channel="Y" name="resolution" value="336.48792" units="1/cm"/>
          <inkml:channelProperty channel="F" name="resolution" value="0" units="1/dev"/>
          <inkml:channelProperty channel="T" name="resolution" value="1" units="1/dev"/>
        </inkml:channelProperties>
      </inkml:inkSource>
      <inkml:timestamp xml:id="ts0" timeString="2019-07-11T21:18:50.677"/>
    </inkml:context>
    <inkml:brush xml:id="br0">
      <inkml:brushProperty name="width" value="0.05292" units="cm"/>
      <inkml:brushProperty name="height" value="0.05292" units="cm"/>
      <inkml:brushProperty name="color" value="#FF0000"/>
    </inkml:brush>
  </inkml:definitions>
  <inkml:trace contextRef="#ctx0" brushRef="#br0">3151 14915 92 0,'-37'-37'32'0,"23"31"-24"0,0 12 0 0,4 4-4 15</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07-11T20:55:51.477"/>
    </inkml:context>
    <inkml:brush xml:id="br0">
      <inkml:brushProperty name="width" value="0.05" units="cm"/>
      <inkml:brushProperty name="height" value="0.05" units="cm"/>
      <inkml:brushProperty name="color" value="#FFC114"/>
    </inkml:brush>
  </inkml:definitions>
  <inkml:trace contextRef="#ctx0" brushRef="#br0">2511 70 2816,'-7'7'1056,"7"-7"-832,12-7-64,1 0-1056</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07-11T20:58:17.348"/>
    </inkml:context>
    <inkml:brush xml:id="br0">
      <inkml:brushProperty name="width" value="0.05" units="cm"/>
      <inkml:brushProperty name="height" value="0.05" units="cm"/>
      <inkml:brushProperty name="color" value="#F6630D"/>
    </inkml:brush>
  </inkml:definitions>
  <inkml:trace contextRef="#ctx0" brushRef="#br0">1651 1457 896,'-27'0'352,"27"0"-288</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07-11T20:59:18.458"/>
    </inkml:context>
    <inkml:brush xml:id="br0">
      <inkml:brushProperty name="width" value="0.05" units="cm"/>
      <inkml:brushProperty name="height" value="0.05" units="cm"/>
      <inkml:brushProperty name="color" value="#F6630D"/>
    </inkml:brush>
  </inkml:definitions>
  <inkml:trace contextRef="#ctx0" brushRef="#br0">1 0 1152,'7'0'416,"-2"8"-320,2 14 0,-7 0-512</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07-11T20:55:51.477"/>
    </inkml:context>
    <inkml:brush xml:id="br0">
      <inkml:brushProperty name="width" value="0.05" units="cm"/>
      <inkml:brushProperty name="height" value="0.05" units="cm"/>
      <inkml:brushProperty name="color" value="#FFC114"/>
    </inkml:brush>
  </inkml:definitions>
  <inkml:trace contextRef="#ctx0" brushRef="#br0">2511 70 2816,'-7'7'1056,"7"-7"-832,12-7-64,1 0-1056</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07-11T20:59:18.458"/>
    </inkml:context>
    <inkml:brush xml:id="br0">
      <inkml:brushProperty name="width" value="0.05" units="cm"/>
      <inkml:brushProperty name="height" value="0.05" units="cm"/>
      <inkml:brushProperty name="color" value="#F6630D"/>
    </inkml:brush>
  </inkml:definitions>
  <inkml:trace contextRef="#ctx0" brushRef="#br0">1 0 1152,'7'0'416,"-2"8"-320,2 14 0,-7 0-512</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A59D92-4E7D-4E08-A805-B467E98CEFD1}" type="datetimeFigureOut">
              <a:rPr lang="en-US" smtClean="0"/>
              <a:t>3/2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27A1F0-49ED-468D-8AED-D4716C3B901C}" type="slidenum">
              <a:rPr lang="en-US" smtClean="0"/>
              <a:t>‹#›</a:t>
            </a:fld>
            <a:endParaRPr lang="en-US"/>
          </a:p>
        </p:txBody>
      </p:sp>
    </p:spTree>
    <p:extLst>
      <p:ext uri="{BB962C8B-B14F-4D97-AF65-F5344CB8AC3E}">
        <p14:creationId xmlns:p14="http://schemas.microsoft.com/office/powerpoint/2010/main" val="24000805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azure/traffic-manager/traffic-manager-routing-methods#performance"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github.com/Azure/azure-iot-sdks"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azure/iot-dp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0451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1" i="0" dirty="0">
                <a:solidFill>
                  <a:srgbClr val="171717"/>
                </a:solidFill>
                <a:effectLst/>
                <a:latin typeface="Segoe UI" panose="020B0502040204020203" pitchFamily="34" charset="0"/>
              </a:rPr>
              <a:t>Secure attestation</a:t>
            </a:r>
            <a:r>
              <a:rPr lang="en-US" b="0" i="0" dirty="0">
                <a:solidFill>
                  <a:srgbClr val="171717"/>
                </a:solidFill>
                <a:effectLst/>
                <a:latin typeface="Segoe UI" panose="020B0502040204020203" pitchFamily="34" charset="0"/>
              </a:rPr>
              <a:t> support for both X.509 and TPM-based identities.</a:t>
            </a:r>
          </a:p>
          <a:p>
            <a:pPr algn="l">
              <a:buFont typeface="Arial" panose="020B0604020202020204" pitchFamily="34" charset="0"/>
              <a:buChar char="•"/>
            </a:pPr>
            <a:r>
              <a:rPr lang="en-US" b="1" i="0" dirty="0">
                <a:solidFill>
                  <a:srgbClr val="171717"/>
                </a:solidFill>
                <a:effectLst/>
                <a:latin typeface="Segoe UI" panose="020B0502040204020203" pitchFamily="34" charset="0"/>
              </a:rPr>
              <a:t>Enrollment list</a:t>
            </a:r>
            <a:r>
              <a:rPr lang="en-US" b="0" i="0" dirty="0">
                <a:solidFill>
                  <a:srgbClr val="171717"/>
                </a:solidFill>
                <a:effectLst/>
                <a:latin typeface="Segoe UI" panose="020B0502040204020203" pitchFamily="34" charset="0"/>
              </a:rPr>
              <a:t> containing the complete record of devices/groups of devices that may at some point register. The enrollment list contains information about the desired configuration of the device once it registers, and it can be updated at any time.</a:t>
            </a:r>
          </a:p>
          <a:p>
            <a:pPr algn="l">
              <a:buFont typeface="Arial" panose="020B0604020202020204" pitchFamily="34" charset="0"/>
              <a:buChar char="•"/>
            </a:pPr>
            <a:r>
              <a:rPr lang="en-US" b="1" i="0" dirty="0">
                <a:solidFill>
                  <a:srgbClr val="171717"/>
                </a:solidFill>
                <a:effectLst/>
                <a:latin typeface="Segoe UI" panose="020B0502040204020203" pitchFamily="34" charset="0"/>
              </a:rPr>
              <a:t>Multiple allocation policies</a:t>
            </a:r>
            <a:r>
              <a:rPr lang="en-US" b="0" i="0" dirty="0">
                <a:solidFill>
                  <a:srgbClr val="171717"/>
                </a:solidFill>
                <a:effectLst/>
                <a:latin typeface="Segoe UI" panose="020B0502040204020203" pitchFamily="34" charset="0"/>
              </a:rPr>
              <a:t> to control how DPS assigns devices to IoT hubs in support of your scenarios: Lowest latency, evenly weighted distribution (default), and static configuration via the enrollment list. Latency is determined using the same method as </a:t>
            </a:r>
            <a:r>
              <a:rPr lang="en-US" b="0" i="0" u="none" strike="noStrike" dirty="0">
                <a:solidFill>
                  <a:srgbClr val="171717"/>
                </a:solidFill>
                <a:effectLst/>
                <a:latin typeface="Segoe UI" panose="020B0502040204020203" pitchFamily="34" charset="0"/>
                <a:hlinkClick r:id="rId3"/>
              </a:rPr>
              <a:t>Traffic Manager</a:t>
            </a:r>
            <a:r>
              <a:rPr lang="en-US" b="0" i="0" dirty="0">
                <a:solidFill>
                  <a:srgbClr val="171717"/>
                </a:solidFill>
                <a:effectLst/>
                <a:latin typeface="Segoe UI" panose="020B0502040204020203" pitchFamily="34" charset="0"/>
              </a:rPr>
              <a:t>.</a:t>
            </a:r>
          </a:p>
          <a:p>
            <a:pPr algn="l">
              <a:buFont typeface="Arial" panose="020B0604020202020204" pitchFamily="34" charset="0"/>
              <a:buChar char="•"/>
            </a:pPr>
            <a:r>
              <a:rPr lang="en-US" b="1" i="0" dirty="0">
                <a:solidFill>
                  <a:srgbClr val="171717"/>
                </a:solidFill>
                <a:effectLst/>
                <a:latin typeface="Segoe UI" panose="020B0502040204020203" pitchFamily="34" charset="0"/>
              </a:rPr>
              <a:t>Monitoring and diagnostics logging</a:t>
            </a:r>
            <a:r>
              <a:rPr lang="en-US" b="0" i="0" dirty="0">
                <a:solidFill>
                  <a:srgbClr val="171717"/>
                </a:solidFill>
                <a:effectLst/>
                <a:latin typeface="Segoe UI" panose="020B0502040204020203" pitchFamily="34" charset="0"/>
              </a:rPr>
              <a:t> to make sure everything is working properly.</a:t>
            </a:r>
          </a:p>
          <a:p>
            <a:pPr algn="l">
              <a:buFont typeface="Arial" panose="020B0604020202020204" pitchFamily="34" charset="0"/>
              <a:buChar char="•"/>
            </a:pPr>
            <a:r>
              <a:rPr lang="en-US" b="1" i="0" dirty="0">
                <a:solidFill>
                  <a:srgbClr val="171717"/>
                </a:solidFill>
                <a:effectLst/>
                <a:latin typeface="Segoe UI" panose="020B0502040204020203" pitchFamily="34" charset="0"/>
              </a:rPr>
              <a:t>Multi-hub support</a:t>
            </a:r>
            <a:r>
              <a:rPr lang="en-US" b="0" i="0" dirty="0">
                <a:solidFill>
                  <a:srgbClr val="171717"/>
                </a:solidFill>
                <a:effectLst/>
                <a:latin typeface="Segoe UI" panose="020B0502040204020203" pitchFamily="34" charset="0"/>
              </a:rPr>
              <a:t> allows DPS to assign devices to more than one IoT hub. DPS can talk to hubs across multiple Azure subscriptions.</a:t>
            </a:r>
          </a:p>
          <a:p>
            <a:pPr algn="l">
              <a:buFont typeface="Arial" panose="020B0604020202020204" pitchFamily="34" charset="0"/>
              <a:buChar char="•"/>
            </a:pPr>
            <a:r>
              <a:rPr lang="en-US" b="1" i="0" dirty="0">
                <a:solidFill>
                  <a:srgbClr val="171717"/>
                </a:solidFill>
                <a:effectLst/>
                <a:latin typeface="Segoe UI" panose="020B0502040204020203" pitchFamily="34" charset="0"/>
              </a:rPr>
              <a:t>Cross-region support</a:t>
            </a:r>
            <a:r>
              <a:rPr lang="en-US" b="0" i="0" dirty="0">
                <a:solidFill>
                  <a:srgbClr val="171717"/>
                </a:solidFill>
                <a:effectLst/>
                <a:latin typeface="Segoe UI" panose="020B0502040204020203" pitchFamily="34" charset="0"/>
              </a:rPr>
              <a:t> allows DPS to assign devices to IoT hubs in other regions.</a:t>
            </a:r>
          </a:p>
          <a:p>
            <a:pPr algn="l">
              <a:buFont typeface="Arial" panose="020B0604020202020204" pitchFamily="34" charset="0"/>
              <a:buChar char="•"/>
            </a:pPr>
            <a:r>
              <a:rPr lang="en-US" b="1" i="0" dirty="0">
                <a:solidFill>
                  <a:srgbClr val="171717"/>
                </a:solidFill>
                <a:effectLst/>
                <a:latin typeface="Segoe UI" panose="020B0502040204020203" pitchFamily="34" charset="0"/>
              </a:rPr>
              <a:t>Encryption for data at rest</a:t>
            </a:r>
            <a:r>
              <a:rPr lang="en-US" b="0" i="0" dirty="0">
                <a:solidFill>
                  <a:srgbClr val="171717"/>
                </a:solidFill>
                <a:effectLst/>
                <a:latin typeface="Segoe UI" panose="020B0502040204020203" pitchFamily="34" charset="0"/>
              </a:rPr>
              <a:t> allows data in DPS to be encrypted and decrypted transparently using 256-bit AES encryption, one of the strongest block ciphers available, and is FIPS 140-2 compliant.</a:t>
            </a:r>
          </a:p>
          <a:p>
            <a:endParaRPr lang="en-US" dirty="0"/>
          </a:p>
          <a:p>
            <a:pPr marL="685800" marR="0">
              <a:spcBef>
                <a:spcPts val="0"/>
              </a:spcBef>
              <a:spcAft>
                <a:spcPts val="0"/>
              </a:spcAft>
            </a:pPr>
            <a:r>
              <a:rPr lang="en-US" sz="1800" b="1" dirty="0">
                <a:effectLst/>
                <a:latin typeface="Calibri" panose="020F0502020204030204" pitchFamily="34" charset="0"/>
              </a:rPr>
              <a:t>Lowest latency:</a:t>
            </a:r>
            <a:r>
              <a:rPr lang="en-US" sz="1800" dirty="0">
                <a:effectLst/>
                <a:latin typeface="Calibri" panose="020F0502020204030204" pitchFamily="34" charset="0"/>
              </a:rPr>
              <a:t> This policy assigns devices to the linked IoT Hub which will result in the lowest latency communications between device and IoT Hub.</a:t>
            </a:r>
          </a:p>
          <a:p>
            <a:pPr marL="685800" marR="0">
              <a:spcBef>
                <a:spcPts val="0"/>
              </a:spcBef>
              <a:spcAft>
                <a:spcPts val="0"/>
              </a:spcAft>
            </a:pPr>
            <a:r>
              <a:rPr lang="en-US" sz="1800" b="1" dirty="0">
                <a:effectLst/>
                <a:latin typeface="Calibri" panose="020F0502020204030204" pitchFamily="34" charset="0"/>
              </a:rPr>
              <a:t>Evenly weighted distribution:</a:t>
            </a:r>
            <a:r>
              <a:rPr lang="en-US" sz="1800" dirty="0">
                <a:effectLst/>
                <a:latin typeface="Calibri" panose="020F0502020204030204" pitchFamily="34" charset="0"/>
              </a:rPr>
              <a:t> This policy evenly distributes devices across the linked IoT Hubs. If you are provisioning devices to only one IoT Hub, we recommend this setting. The default setting.</a:t>
            </a:r>
          </a:p>
          <a:p>
            <a:pPr marL="685800" marR="0">
              <a:spcBef>
                <a:spcPts val="0"/>
              </a:spcBef>
              <a:spcAft>
                <a:spcPts val="0"/>
              </a:spcAft>
            </a:pPr>
            <a:r>
              <a:rPr lang="en-US" sz="1800" b="1" dirty="0">
                <a:effectLst/>
                <a:latin typeface="Calibri" panose="020F0502020204030204" pitchFamily="34" charset="0"/>
              </a:rPr>
              <a:t>Static configuration:</a:t>
            </a:r>
            <a:r>
              <a:rPr lang="en-US" sz="1800" dirty="0">
                <a:effectLst/>
                <a:latin typeface="Calibri" panose="020F0502020204030204" pitchFamily="34" charset="0"/>
              </a:rPr>
              <a:t> This policy requires a desired IoT Hub be listed in the enrollment entry for a device to be provisioned.</a:t>
            </a:r>
          </a:p>
          <a:p>
            <a:endParaRPr lang="en-US" dirty="0"/>
          </a:p>
          <a:p>
            <a:endParaRPr lang="en-US" dirty="0"/>
          </a:p>
          <a:p>
            <a:r>
              <a:rPr lang="en-US" dirty="0"/>
              <a:t>Cross platform:</a:t>
            </a:r>
          </a:p>
          <a:p>
            <a:endParaRPr lang="en-US" dirty="0"/>
          </a:p>
          <a:p>
            <a:pPr algn="l"/>
            <a:r>
              <a:rPr lang="en-US" b="0" i="0" dirty="0">
                <a:solidFill>
                  <a:srgbClr val="171717"/>
                </a:solidFill>
                <a:effectLst/>
                <a:latin typeface="Segoe UI" panose="020B0502040204020203" pitchFamily="34" charset="0"/>
              </a:rPr>
              <a:t>Just like all Azure IoT services, DPS works cross-platform with a variety of operating systems. Azure offers open-source SDKs in a variety of </a:t>
            </a:r>
            <a:r>
              <a:rPr lang="en-US" b="0" i="0" u="none" strike="noStrike" dirty="0">
                <a:solidFill>
                  <a:srgbClr val="171717"/>
                </a:solidFill>
                <a:effectLst/>
                <a:latin typeface="Segoe UI" panose="020B0502040204020203" pitchFamily="34" charset="0"/>
                <a:hlinkClick r:id="rId4"/>
              </a:rPr>
              <a:t>languages</a:t>
            </a:r>
            <a:r>
              <a:rPr lang="en-US" b="0" i="0" dirty="0">
                <a:solidFill>
                  <a:srgbClr val="171717"/>
                </a:solidFill>
                <a:effectLst/>
                <a:latin typeface="Segoe UI" panose="020B0502040204020203" pitchFamily="34" charset="0"/>
              </a:rPr>
              <a:t> to facilitate connecting devices and managing the service. DPS supports the following protocols for connecting devices:</a:t>
            </a:r>
          </a:p>
          <a:p>
            <a:pPr algn="l">
              <a:buFont typeface="Arial" panose="020B0604020202020204" pitchFamily="34" charset="0"/>
              <a:buChar char="•"/>
            </a:pPr>
            <a:r>
              <a:rPr lang="en-US" b="0" i="0" dirty="0">
                <a:solidFill>
                  <a:srgbClr val="171717"/>
                </a:solidFill>
                <a:effectLst/>
                <a:latin typeface="Segoe UI" panose="020B0502040204020203" pitchFamily="34" charset="0"/>
              </a:rPr>
              <a:t>HTTPS</a:t>
            </a:r>
          </a:p>
          <a:p>
            <a:pPr algn="l">
              <a:buFont typeface="Arial" panose="020B0604020202020204" pitchFamily="34" charset="0"/>
              <a:buChar char="•"/>
            </a:pPr>
            <a:r>
              <a:rPr lang="en-US" b="0" i="0" dirty="0">
                <a:solidFill>
                  <a:srgbClr val="171717"/>
                </a:solidFill>
                <a:effectLst/>
                <a:latin typeface="Segoe UI" panose="020B0502040204020203" pitchFamily="34" charset="0"/>
              </a:rPr>
              <a:t>AMQP</a:t>
            </a:r>
          </a:p>
          <a:p>
            <a:pPr algn="l">
              <a:buFont typeface="Arial" panose="020B0604020202020204" pitchFamily="34" charset="0"/>
              <a:buChar char="•"/>
            </a:pPr>
            <a:r>
              <a:rPr lang="en-US" b="0" i="0" dirty="0">
                <a:solidFill>
                  <a:srgbClr val="171717"/>
                </a:solidFill>
                <a:effectLst/>
                <a:latin typeface="Segoe UI" panose="020B0502040204020203" pitchFamily="34" charset="0"/>
              </a:rPr>
              <a:t>AMQP over web sockets</a:t>
            </a:r>
          </a:p>
          <a:p>
            <a:pPr algn="l">
              <a:buFont typeface="Arial" panose="020B0604020202020204" pitchFamily="34" charset="0"/>
              <a:buChar char="•"/>
            </a:pPr>
            <a:r>
              <a:rPr lang="en-US" b="0" i="0" dirty="0">
                <a:solidFill>
                  <a:srgbClr val="171717"/>
                </a:solidFill>
                <a:effectLst/>
                <a:latin typeface="Segoe UI" panose="020B0502040204020203" pitchFamily="34" charset="0"/>
              </a:rPr>
              <a:t>MQTT</a:t>
            </a:r>
          </a:p>
          <a:p>
            <a:pPr algn="l">
              <a:buFont typeface="Arial" panose="020B0604020202020204" pitchFamily="34" charset="0"/>
              <a:buChar char="•"/>
            </a:pPr>
            <a:r>
              <a:rPr lang="en-US" b="0" i="0" dirty="0">
                <a:solidFill>
                  <a:srgbClr val="171717"/>
                </a:solidFill>
                <a:effectLst/>
                <a:latin typeface="Segoe UI" panose="020B0502040204020203" pitchFamily="34" charset="0"/>
              </a:rPr>
              <a:t>MQTT over web sockets</a:t>
            </a:r>
          </a:p>
          <a:p>
            <a:pPr algn="l"/>
            <a:r>
              <a:rPr lang="en-US" b="0" i="0" dirty="0">
                <a:solidFill>
                  <a:srgbClr val="171717"/>
                </a:solidFill>
                <a:effectLst/>
                <a:latin typeface="Segoe UI" panose="020B0502040204020203" pitchFamily="34" charset="0"/>
              </a:rPr>
              <a:t>DPS only supports HTTPS connections for service operations.</a:t>
            </a:r>
          </a:p>
          <a:p>
            <a:endParaRPr lang="en-US" dirty="0"/>
          </a:p>
        </p:txBody>
      </p:sp>
      <p:sp>
        <p:nvSpPr>
          <p:cNvPr id="4" name="Slide Number Placeholder 3"/>
          <p:cNvSpPr>
            <a:spLocks noGrp="1"/>
          </p:cNvSpPr>
          <p:nvPr>
            <p:ph type="sldNum" sz="quarter" idx="5"/>
          </p:nvPr>
        </p:nvSpPr>
        <p:spPr/>
        <p:txBody>
          <a:bodyPr/>
          <a:lstStyle/>
          <a:p>
            <a:fld id="{6F27A1F0-49ED-468D-8AED-D4716C3B901C}" type="slidenum">
              <a:rPr lang="en-US" smtClean="0"/>
              <a:t>11</a:t>
            </a:fld>
            <a:endParaRPr lang="en-US"/>
          </a:p>
        </p:txBody>
      </p:sp>
    </p:spTree>
    <p:extLst>
      <p:ext uri="{BB962C8B-B14F-4D97-AF65-F5344CB8AC3E}">
        <p14:creationId xmlns:p14="http://schemas.microsoft.com/office/powerpoint/2010/main" val="7074439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many more scenarios the DPS supports than what’s listed on this slide, but this list should give you a taste for the variety of scenarios the DPS can be used for.</a:t>
            </a:r>
          </a:p>
          <a:p>
            <a:endParaRPr lang="en-US" dirty="0"/>
          </a:p>
          <a:p>
            <a:r>
              <a:rPr lang="en-US" dirty="0"/>
              <a:t>First bootstrapping devices to IoT Hub in a single IoT solution is definitely a scenario the DPS can be used for.</a:t>
            </a:r>
          </a:p>
          <a:p>
            <a:endParaRPr lang="en-US" dirty="0"/>
          </a:p>
          <a:p>
            <a:r>
              <a:rPr lang="en-US" dirty="0"/>
              <a:t>Load balancing is one of the simplest multi-hub scenarios to think about. Devices are allocated to different hubs to make management easier.</a:t>
            </a:r>
          </a:p>
          <a:p>
            <a:endParaRPr lang="en-US" dirty="0"/>
          </a:p>
          <a:p>
            <a:r>
              <a:rPr lang="en-US" dirty="0"/>
              <a:t>Ownership based: multitenancy solutions. If you sell widgets to multiple customers, you want to have data isolation. Want to make sure the devices are connected to the hub for the customer who purchased them.</a:t>
            </a:r>
          </a:p>
          <a:p>
            <a:endParaRPr lang="en-US" dirty="0"/>
          </a:p>
          <a:p>
            <a:r>
              <a:rPr lang="en-US" dirty="0"/>
              <a:t>Geolocation based: AKA </a:t>
            </a:r>
            <a:r>
              <a:rPr lang="en-US" dirty="0" err="1"/>
              <a:t>geosharding</a:t>
            </a:r>
            <a:r>
              <a:rPr lang="en-US" dirty="0"/>
              <a:t>. Want the device to connect to the IoT solution geographically closest to it. </a:t>
            </a:r>
          </a:p>
          <a:p>
            <a:endParaRPr lang="en-US" dirty="0"/>
          </a:p>
          <a:p>
            <a:r>
              <a:rPr lang="en-US" dirty="0"/>
              <a:t>Re-provisioning: one of the most important scenarios, and one that happens later in the device’s lifecycle. Re-provisioning could occur because the device was sold to another user, for example in the case of the lease. The device might have moved because it’s a vehicle and now needs to connect to a different region. Or, and this gets back to the security aspect, maybe the device is installed in a sensitive location and policy dictates that the device needs to re-attest (re-</a:t>
            </a:r>
            <a:r>
              <a:rPr lang="en-US" dirty="0" err="1"/>
              <a:t>delare</a:t>
            </a:r>
            <a:r>
              <a:rPr lang="en-US" dirty="0"/>
              <a:t>) its identity every 90 days, or 30 days, or even daily.</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76FD910-E3AC-4095-8A0E-B90F93851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9/2021 4:1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33883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normAutofit fontScale="55000" lnSpcReduction="20000"/>
          </a:bodyPr>
          <a:lstStyle/>
          <a:p>
            <a:r>
              <a:rPr lang="en-US" dirty="0"/>
              <a:t>Let’s jump into how to Provision millions of devices using DPS. </a:t>
            </a:r>
          </a:p>
          <a:p>
            <a:endParaRPr lang="en-US" dirty="0"/>
          </a:p>
          <a:p>
            <a:r>
              <a:rPr lang="en-US" dirty="0"/>
              <a:t>What does “provisioning.” mean? In general, provisioning devices is a two part process. The first part is called a provisioning set up which requires a human operator to pre-register the device in the IoT solution so the IoT solution knows that the device exists. In addition, the human operator can also add some initial configuration for the devices. The human operator also need to program the device to its target IoT solution. </a:t>
            </a:r>
          </a:p>
          <a:p>
            <a:endParaRPr lang="en-US" dirty="0"/>
          </a:p>
          <a:p>
            <a:r>
              <a:rPr lang="en-US" dirty="0"/>
              <a:t>The second part when the device turns on (For example when a device is connected to </a:t>
            </a:r>
            <a:r>
              <a:rPr lang="en-US" dirty="0" err="1"/>
              <a:t>wifi</a:t>
            </a:r>
            <a:r>
              <a:rPr lang="en-US" dirty="0"/>
              <a:t>) and establishes a connection to the IoT solution where the device need to prove it is indeed the device the human operator has registered previously. Once the device is authenticated, it can go through some runtime assignments as well as gather some set up process. </a:t>
            </a:r>
          </a:p>
          <a:p>
            <a:r>
              <a:rPr lang="en-US" dirty="0"/>
              <a:t>Only when both of these steps are complete, then the device has been fully </a:t>
            </a:r>
            <a:r>
              <a:rPr lang="en-US" i="1" dirty="0"/>
              <a:t>provisioned</a:t>
            </a:r>
            <a:r>
              <a:rPr lang="en-US" dirty="0"/>
              <a:t>.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71717"/>
                </a:solidFill>
                <a:effectLst/>
                <a:latin typeface="Segoe UI" panose="020B0502040204020203" pitchFamily="34" charset="0"/>
              </a:rPr>
              <a:t>Manufacturing step</a:t>
            </a:r>
          </a:p>
          <a:p>
            <a:pPr algn="l"/>
            <a:r>
              <a:rPr lang="en-US" b="0" i="0" dirty="0">
                <a:solidFill>
                  <a:srgbClr val="171717"/>
                </a:solidFill>
                <a:effectLst/>
                <a:latin typeface="Segoe UI" panose="020B0502040204020203" pitchFamily="34" charset="0"/>
              </a:rPr>
              <a:t>This step is all about what happens on the manufacturing line. The roles involved in this step include silicon designer, silicon manufacturer, integrator and/or the end manufacturer of the device. This step is concerned with creating the hardware itself.</a:t>
            </a:r>
          </a:p>
          <a:p>
            <a:pPr algn="l"/>
            <a:r>
              <a:rPr lang="en-US" b="0" i="0" dirty="0">
                <a:solidFill>
                  <a:srgbClr val="171717"/>
                </a:solidFill>
                <a:effectLst/>
                <a:latin typeface="Segoe UI" panose="020B0502040204020203" pitchFamily="34" charset="0"/>
              </a:rPr>
              <a:t>DPS does not introduce a new step in the manufacturing process; rather, it ties into the existing step that installs the initial software and (ideally) the HSM on the device. Instead of creating a device ID in this step, the device is programmed with the provisioning service information, enabling it to call the provisioning service to get its connection info/IoT solution assignment when it is switched on.</a:t>
            </a:r>
          </a:p>
          <a:p>
            <a:pPr algn="l"/>
            <a:r>
              <a:rPr lang="en-US" b="0" i="0" dirty="0">
                <a:solidFill>
                  <a:srgbClr val="171717"/>
                </a:solidFill>
                <a:effectLst/>
                <a:latin typeface="Segoe UI" panose="020B0502040204020203" pitchFamily="34" charset="0"/>
              </a:rPr>
              <a:t>Also in this step, the manufacturer supplies the device deployer/operator with identifying key information. Supplying that information could be as simple as confirming that all devices have an X.509 certificate generated from a signing certificate provided by the device deployer/operator, or as complicated as extracting the public portion of a TPM endorsement key from each TPM device. These services are offered by many silicon manufacturers today.</a:t>
            </a:r>
          </a:p>
          <a:p>
            <a:pPr algn="l"/>
            <a:endParaRPr lang="en-US" b="0"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Cloud setup step</a:t>
            </a:r>
          </a:p>
          <a:p>
            <a:pPr algn="l"/>
            <a:r>
              <a:rPr lang="en-US" b="0" i="0" dirty="0">
                <a:solidFill>
                  <a:srgbClr val="171717"/>
                </a:solidFill>
                <a:effectLst/>
                <a:latin typeface="Segoe UI" panose="020B0502040204020203" pitchFamily="34" charset="0"/>
              </a:rPr>
              <a:t>This step is about configuring the cloud for proper automatic provisioning. Generally there are two types of users involved in the cloud setup step: someone who knows how devices need to be initially set up (a device operator), and someone else who knows how devices are to be split among the IoT hubs (a solution operator).</a:t>
            </a:r>
          </a:p>
          <a:p>
            <a:pPr algn="l"/>
            <a:r>
              <a:rPr lang="en-US" b="0" i="0" dirty="0">
                <a:solidFill>
                  <a:srgbClr val="171717"/>
                </a:solidFill>
                <a:effectLst/>
                <a:latin typeface="Segoe UI" panose="020B0502040204020203" pitchFamily="34" charset="0"/>
              </a:rPr>
              <a:t>There is a one-time initial setup of the provisioning that must occur, which is usually handled by the solution operator. Once the provisioning service is configured, it does not have to be modified unless the use case changes.</a:t>
            </a:r>
          </a:p>
          <a:p>
            <a:pPr algn="l"/>
            <a:r>
              <a:rPr lang="en-US" b="0" i="0" dirty="0">
                <a:solidFill>
                  <a:srgbClr val="171717"/>
                </a:solidFill>
                <a:effectLst/>
                <a:latin typeface="Segoe UI" panose="020B0502040204020203" pitchFamily="34" charset="0"/>
              </a:rPr>
              <a:t>After the service has been configured for automatic provisioning, it must be prepared to enroll devices. This step is done by the device operator, who knows the desired configuration of the device(s) and is in charge of making sure the provisioning service can properly attest to the device's identity when it comes looking for its IoT hub. The device operator takes the identifying key information from the manufacturer and adds it to the enrollment list. There can be subsequent updates to the enrollment list as new entries are added or existing entries are updated with the latest information about the devices.</a:t>
            </a:r>
          </a:p>
          <a:p>
            <a:pPr algn="l"/>
            <a:endParaRPr lang="en-US" b="0" i="0" dirty="0">
              <a:solidFill>
                <a:srgbClr val="171717"/>
              </a:solidFill>
              <a:effectLst/>
              <a:latin typeface="Segoe UI" panose="020B0502040204020203" pitchFamily="34" charset="0"/>
            </a:endParaRPr>
          </a:p>
          <a:p>
            <a:endParaRPr lang="en-US" dirty="0"/>
          </a:p>
          <a:p>
            <a:endParaRPr lang="en-US" dirty="0"/>
          </a:p>
        </p:txBody>
      </p:sp>
      <p:sp>
        <p:nvSpPr>
          <p:cNvPr id="5" name="Footer Placeholder 4"/>
          <p:cNvSpPr>
            <a:spLocks noGrp="1"/>
          </p:cNvSpPr>
          <p:nvPr>
            <p:ph type="ftr" sz="quarter" idx="4"/>
          </p:nvPr>
        </p:nvSpPr>
        <p:spPr>
          <a:xfrm>
            <a:off x="0" y="9055144"/>
            <a:ext cx="3162854" cy="478327"/>
          </a:xfrm>
          <a:prstGeom prst="rect">
            <a:avLst/>
          </a:prstGeom>
        </p:spPr>
        <p:txBody>
          <a:bodyPr lIns="94371" tIns="47185" rIns="94371" bIns="47185"/>
          <a:lstStyle/>
          <a:p>
            <a:pPr marL="571500" marR="0" lvl="0" indent="0" algn="l" defTabSz="964492"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64492"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1444" name="Date Placeholder 5"/>
          <p:cNvSpPr>
            <a:spLocks noGrp="1"/>
          </p:cNvSpPr>
          <p:nvPr>
            <p:ph type="dt" sz="quarter" idx="1"/>
          </p:nvPr>
        </p:nvSpPr>
        <p:spPr bwMode="auto">
          <a:xfrm>
            <a:off x="4044475" y="2"/>
            <a:ext cx="3094096" cy="46885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4371" tIns="47185" rIns="94371" bIns="47185"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66763" indent="-294908">
              <a:defRPr>
                <a:solidFill>
                  <a:schemeClr val="tx1"/>
                </a:solidFill>
                <a:latin typeface="Segoe UI" charset="0"/>
                <a:ea typeface="ＭＳ Ｐゴシック" charset="0"/>
              </a:defRPr>
            </a:lvl2pPr>
            <a:lvl3pPr marL="1179636" indent="-235927">
              <a:defRPr>
                <a:solidFill>
                  <a:schemeClr val="tx1"/>
                </a:solidFill>
                <a:latin typeface="Segoe UI" charset="0"/>
                <a:ea typeface="ＭＳ Ｐゴシック" charset="0"/>
              </a:defRPr>
            </a:lvl3pPr>
            <a:lvl4pPr marL="1651490" indent="-235927">
              <a:defRPr>
                <a:solidFill>
                  <a:schemeClr val="tx1"/>
                </a:solidFill>
                <a:latin typeface="Segoe UI" charset="0"/>
                <a:ea typeface="ＭＳ Ｐゴシック" charset="0"/>
              </a:defRPr>
            </a:lvl4pPr>
            <a:lvl5pPr marL="2123345" indent="-235927">
              <a:defRPr>
                <a:solidFill>
                  <a:schemeClr val="tx1"/>
                </a:solidFill>
                <a:latin typeface="Segoe UI" charset="0"/>
                <a:ea typeface="ＭＳ Ｐゴシック" charset="0"/>
              </a:defRPr>
            </a:lvl5pPr>
            <a:lvl6pPr marL="2595198" indent="-235927" defTabSz="961731" fontAlgn="base">
              <a:spcBef>
                <a:spcPct val="0"/>
              </a:spcBef>
              <a:spcAft>
                <a:spcPct val="0"/>
              </a:spcAft>
              <a:defRPr>
                <a:solidFill>
                  <a:schemeClr val="tx1"/>
                </a:solidFill>
                <a:latin typeface="Segoe UI" charset="0"/>
                <a:ea typeface="ＭＳ Ｐゴシック" charset="0"/>
              </a:defRPr>
            </a:lvl6pPr>
            <a:lvl7pPr marL="3067053" indent="-235927" defTabSz="961731" fontAlgn="base">
              <a:spcBef>
                <a:spcPct val="0"/>
              </a:spcBef>
              <a:spcAft>
                <a:spcPct val="0"/>
              </a:spcAft>
              <a:defRPr>
                <a:solidFill>
                  <a:schemeClr val="tx1"/>
                </a:solidFill>
                <a:latin typeface="Segoe UI" charset="0"/>
                <a:ea typeface="ＭＳ Ｐゴシック" charset="0"/>
              </a:defRPr>
            </a:lvl7pPr>
            <a:lvl8pPr marL="3538907" indent="-235927" defTabSz="961731" fontAlgn="base">
              <a:spcBef>
                <a:spcPct val="0"/>
              </a:spcBef>
              <a:spcAft>
                <a:spcPct val="0"/>
              </a:spcAft>
              <a:defRPr>
                <a:solidFill>
                  <a:schemeClr val="tx1"/>
                </a:solidFill>
                <a:latin typeface="Segoe UI" charset="0"/>
                <a:ea typeface="ＭＳ Ｐゴシック" charset="0"/>
              </a:defRPr>
            </a:lvl8pPr>
            <a:lvl9pPr marL="4010762" indent="-235927" defTabSz="961731" fontAlgn="base">
              <a:spcBef>
                <a:spcPct val="0"/>
              </a:spcBef>
              <a:spcAft>
                <a:spcPct val="0"/>
              </a:spcAft>
              <a:defRPr>
                <a:solidFill>
                  <a:schemeClr val="tx1"/>
                </a:solidFill>
                <a:latin typeface="Segoe UI" charset="0"/>
                <a:ea typeface="ＭＳ Ｐゴシック" charset="0"/>
              </a:defRPr>
            </a:lvl9pPr>
          </a:lstStyle>
          <a:p>
            <a:pPr marL="0" marR="0" lvl="0" indent="0" algn="r" defTabSz="961731" rtl="0" eaLnBrk="1" fontAlgn="base" latinLnBrk="0" hangingPunct="1">
              <a:lnSpc>
                <a:spcPct val="100000"/>
              </a:lnSpc>
              <a:spcBef>
                <a:spcPct val="0"/>
              </a:spcBef>
              <a:spcAft>
                <a:spcPct val="0"/>
              </a:spcAft>
              <a:buClrTx/>
              <a:buSzTx/>
              <a:buFontTx/>
              <a:buNone/>
              <a:tabLst/>
              <a:defRPr/>
            </a:pPr>
            <a:fld id="{77B339E5-2C5A-964E-A324-80E05A226C75}" type="datetime1">
              <a:rPr kumimoji="0" lang="en-US" sz="2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61731" rtl="0" eaLnBrk="1" fontAlgn="base" latinLnBrk="0" hangingPunct="1">
                <a:lnSpc>
                  <a:spcPct val="100000"/>
                </a:lnSpc>
                <a:spcBef>
                  <a:spcPct val="0"/>
                </a:spcBef>
                <a:spcAft>
                  <a:spcPct val="0"/>
                </a:spcAft>
                <a:buClrTx/>
                <a:buSzTx/>
                <a:buFontTx/>
                <a:buNone/>
                <a:tabLst/>
                <a:defRPr/>
              </a:pPr>
              <a:t>3/29/2021</a:t>
            </a:fld>
            <a:endParaRPr kumimoji="0" lang="en-US" sz="2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
        <p:nvSpPr>
          <p:cNvPr id="61445"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66763" indent="-294908">
              <a:defRPr>
                <a:solidFill>
                  <a:schemeClr val="tx1"/>
                </a:solidFill>
                <a:latin typeface="Segoe UI" charset="0"/>
                <a:ea typeface="ＭＳ Ｐゴシック" charset="0"/>
              </a:defRPr>
            </a:lvl2pPr>
            <a:lvl3pPr marL="1179636" indent="-235927">
              <a:defRPr>
                <a:solidFill>
                  <a:schemeClr val="tx1"/>
                </a:solidFill>
                <a:latin typeface="Segoe UI" charset="0"/>
                <a:ea typeface="ＭＳ Ｐゴシック" charset="0"/>
              </a:defRPr>
            </a:lvl3pPr>
            <a:lvl4pPr marL="1651490" indent="-235927">
              <a:defRPr>
                <a:solidFill>
                  <a:schemeClr val="tx1"/>
                </a:solidFill>
                <a:latin typeface="Segoe UI" charset="0"/>
                <a:ea typeface="ＭＳ Ｐゴシック" charset="0"/>
              </a:defRPr>
            </a:lvl4pPr>
            <a:lvl5pPr marL="2123345" indent="-235927">
              <a:defRPr>
                <a:solidFill>
                  <a:schemeClr val="tx1"/>
                </a:solidFill>
                <a:latin typeface="Segoe UI" charset="0"/>
                <a:ea typeface="ＭＳ Ｐゴシック" charset="0"/>
              </a:defRPr>
            </a:lvl5pPr>
            <a:lvl6pPr marL="2595198" indent="-235927" defTabSz="961731" fontAlgn="base">
              <a:spcBef>
                <a:spcPct val="0"/>
              </a:spcBef>
              <a:spcAft>
                <a:spcPct val="0"/>
              </a:spcAft>
              <a:defRPr>
                <a:solidFill>
                  <a:schemeClr val="tx1"/>
                </a:solidFill>
                <a:latin typeface="Segoe UI" charset="0"/>
                <a:ea typeface="ＭＳ Ｐゴシック" charset="0"/>
              </a:defRPr>
            </a:lvl6pPr>
            <a:lvl7pPr marL="3067053" indent="-235927" defTabSz="961731" fontAlgn="base">
              <a:spcBef>
                <a:spcPct val="0"/>
              </a:spcBef>
              <a:spcAft>
                <a:spcPct val="0"/>
              </a:spcAft>
              <a:defRPr>
                <a:solidFill>
                  <a:schemeClr val="tx1"/>
                </a:solidFill>
                <a:latin typeface="Segoe UI" charset="0"/>
                <a:ea typeface="ＭＳ Ｐゴシック" charset="0"/>
              </a:defRPr>
            </a:lvl7pPr>
            <a:lvl8pPr marL="3538907" indent="-235927" defTabSz="961731" fontAlgn="base">
              <a:spcBef>
                <a:spcPct val="0"/>
              </a:spcBef>
              <a:spcAft>
                <a:spcPct val="0"/>
              </a:spcAft>
              <a:defRPr>
                <a:solidFill>
                  <a:schemeClr val="tx1"/>
                </a:solidFill>
                <a:latin typeface="Segoe UI" charset="0"/>
                <a:ea typeface="ＭＳ Ｐゴシック" charset="0"/>
              </a:defRPr>
            </a:lvl8pPr>
            <a:lvl9pPr marL="4010762" indent="-235927" defTabSz="961731" fontAlgn="base">
              <a:spcBef>
                <a:spcPct val="0"/>
              </a:spcBef>
              <a:spcAft>
                <a:spcPct val="0"/>
              </a:spcAft>
              <a:defRPr>
                <a:solidFill>
                  <a:schemeClr val="tx1"/>
                </a:solidFill>
                <a:latin typeface="Segoe UI" charset="0"/>
                <a:ea typeface="ＭＳ Ｐゴシック" charset="0"/>
              </a:defRPr>
            </a:lvl9pPr>
          </a:lstStyle>
          <a:p>
            <a:pPr marL="0" marR="0" lvl="0" indent="0" algn="r" defTabSz="961731" rtl="0" eaLnBrk="1" fontAlgn="base" latinLnBrk="0" hangingPunct="1">
              <a:lnSpc>
                <a:spcPct val="100000"/>
              </a:lnSpc>
              <a:spcBef>
                <a:spcPct val="0"/>
              </a:spcBef>
              <a:spcAft>
                <a:spcPct val="0"/>
              </a:spcAft>
              <a:buClrTx/>
              <a:buSzTx/>
              <a:buFontTx/>
              <a:buNone/>
              <a:tabLst/>
              <a:defRPr/>
            </a:pPr>
            <a:fld id="{1A6394F6-822C-1448-96C9-DC8FB41C7165}" type="slidenum">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61731"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Tree>
    <p:extLst>
      <p:ext uri="{BB962C8B-B14F-4D97-AF65-F5344CB8AC3E}">
        <p14:creationId xmlns:p14="http://schemas.microsoft.com/office/powerpoint/2010/main" val="24397308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process in the example is relatively simple and you can easily automate it all through scripts. However what if you expand the scope a little bi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hat if you have multiple IoT Devices that you want to assign to an IoT Solution? You would need to assign each individual devices the IoT Hub Connection String. This is also relatively easy when you have one IoT Hub as you can add this information into the device at the time of manufactur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r>
              <a:rPr lang="en-US" dirty="0"/>
              <a:t>Expanding a little more, you want to add new IoT Devices to a new IoT Hub, it’s getting harder because you need to keep track of multiple devices and IoT hubs and where they are assigned.</a:t>
            </a:r>
          </a:p>
          <a:p>
            <a:endParaRPr lang="en-US" dirty="0"/>
          </a:p>
          <a:p>
            <a:r>
              <a:rPr lang="en-US" dirty="0"/>
              <a:t>Finally, what if you want to assign an existing device to a new IoT Hub, this is especially difficult because the human operator would have to program the device because each IoT Hub has a unique endpoint. This last example is also not always feasible because IoT devices may be already be deployed and installed and reconfiguration is very difficult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summarize, provisioning can be a very tedious and manual process as you add new devices or expand your </a:t>
            </a:r>
            <a:r>
              <a:rPr lang="en-US" dirty="0" err="1"/>
              <a:t>iot</a:t>
            </a:r>
            <a:r>
              <a:rPr lang="en-US" dirty="0"/>
              <a:t> backend. And initial device assignment may need to change once the device has successfully provisioned.  </a:t>
            </a: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sz="1200" dirty="0"/>
          </a:p>
          <a:p>
            <a:endParaRPr lang="en-US" sz="1200"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76FD910-E3AC-4095-8A0E-B90F93851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9/2021 4:1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53332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mitigate some of the challenges mentioned, IoT Hub Device Provisioning Service that can simplify the provisioning setup and also allow for late assignment of IoT Devices to IoT hubs </a:t>
            </a:r>
          </a:p>
          <a:p>
            <a:endParaRPr lang="en-US" dirty="0"/>
          </a:p>
          <a:p>
            <a:endParaRPr lang="en-US" dirty="0"/>
          </a:p>
          <a:p>
            <a:endParaRPr lang="en-US" dirty="0"/>
          </a:p>
          <a:p>
            <a:r>
              <a:rPr lang="en-US" dirty="0"/>
              <a:t>after the device is connected</a:t>
            </a:r>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2FE5E3C-C611-40B0-BCFF-B1C4AC6055C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3898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dirty="0"/>
              <a:t>Let’s go over how provisioning works with a device provisions via IoT Hub Device Provisioning Service . Only one IoT hub will shown for clarity, but the process works with up to 10 hubs linked to a single DPS</a:t>
            </a:r>
          </a:p>
          <a:p>
            <a:endParaRPr lang="en-US" sz="700" dirty="0"/>
          </a:p>
          <a:p>
            <a:r>
              <a:rPr lang="en-US" sz="700" dirty="0"/>
              <a:t>[each numbered point is a literal click stop]</a:t>
            </a:r>
          </a:p>
          <a:p>
            <a:endParaRPr lang="en-US" sz="700" dirty="0"/>
          </a:p>
          <a:p>
            <a:pPr marL="228600" indent="-228600">
              <a:buFont typeface="+mj-lt"/>
              <a:buAutoNum type="arabicPeriod"/>
            </a:pPr>
            <a:r>
              <a:rPr lang="en-US" sz="700" dirty="0"/>
              <a:t>After the device is manufactured, the device enrollment information is added to the DPS. This is the only manual step in the process as part of the provisioning set-up</a:t>
            </a:r>
          </a:p>
          <a:p>
            <a:pPr marL="228600" indent="-228600">
              <a:buFont typeface="+mj-lt"/>
              <a:buAutoNum type="arabicPeriod"/>
            </a:pPr>
            <a:r>
              <a:rPr lang="en-US" sz="700" dirty="0"/>
              <a:t>At some point afterwards, which could be a day or it could be several months, the device goes online and connects to DPS to find its IoT solution home.</a:t>
            </a:r>
          </a:p>
          <a:p>
            <a:pPr marL="228600" indent="-228600">
              <a:buFont typeface="+mj-lt"/>
              <a:buAutoNum type="arabicPeriod"/>
            </a:pPr>
            <a:r>
              <a:rPr lang="en-US" sz="700" dirty="0"/>
              <a:t>DPS and the device go through an authentication handshake using the device identity info. DPS verifies the device’s identity</a:t>
            </a:r>
          </a:p>
          <a:p>
            <a:pPr marL="228600" indent="-228600">
              <a:buFont typeface="+mj-lt"/>
              <a:buAutoNum type="arabicPeriod"/>
            </a:pPr>
            <a:r>
              <a:rPr lang="en-US" sz="700" dirty="0"/>
              <a:t>DPS registers the device to IoT hub and populates the initial desired device state</a:t>
            </a:r>
          </a:p>
          <a:p>
            <a:pPr marL="228600" indent="-228600">
              <a:buFont typeface="+mj-lt"/>
              <a:buAutoNum type="arabicPeriod"/>
            </a:pPr>
            <a:r>
              <a:rPr lang="en-US" sz="700" dirty="0"/>
              <a:t>IoT hub returns IH connection info for the device</a:t>
            </a:r>
          </a:p>
          <a:p>
            <a:pPr marL="228600" indent="-228600">
              <a:buFont typeface="+mj-lt"/>
              <a:buAutoNum type="arabicPeriod"/>
            </a:pPr>
            <a:r>
              <a:rPr lang="en-US" sz="700" dirty="0"/>
              <a:t>DPS gives the device its IoT Hub connection info</a:t>
            </a:r>
          </a:p>
          <a:p>
            <a:pPr marL="228600" indent="-228600">
              <a:buFont typeface="+mj-lt"/>
              <a:buAutoNum type="arabicPeriod"/>
            </a:pPr>
            <a:r>
              <a:rPr lang="en-US" sz="700" dirty="0"/>
              <a:t>The device now establishes a connection with IoT hub…</a:t>
            </a:r>
          </a:p>
          <a:p>
            <a:pPr marL="228600" indent="-228600">
              <a:buFont typeface="+mj-lt"/>
              <a:buAutoNum type="arabicPeriod"/>
            </a:pPr>
            <a:r>
              <a:rPr lang="en-US" sz="700" dirty="0"/>
              <a:t>…and retrieves its initial config from IoT hub and makes any changes/updates, as needed</a:t>
            </a:r>
          </a:p>
          <a:p>
            <a:pPr marL="228600" indent="-228600">
              <a:buFont typeface="+mj-lt"/>
              <a:buAutoNum type="arabicPeriod"/>
            </a:pPr>
            <a:r>
              <a:rPr lang="en-US" sz="700" dirty="0"/>
              <a:t>The device starts sending telemetry to IoT hub</a:t>
            </a:r>
          </a:p>
          <a:p>
            <a:pPr marL="228600" indent="-228600">
              <a:buFont typeface="+mj-lt"/>
              <a:buAutoNum type="arabicPeriod"/>
            </a:pPr>
            <a:r>
              <a:rPr lang="en-US" sz="700" dirty="0"/>
              <a:t>The telemetry is consumed by the backend business logic</a:t>
            </a:r>
          </a:p>
          <a:p>
            <a:pPr marL="228600" indent="-228600">
              <a:buFont typeface="+mj-lt"/>
              <a:buAutoNum type="arabicPeriod"/>
            </a:pPr>
            <a:r>
              <a:rPr lang="en-US" sz="700" dirty="0"/>
              <a:t>The business logic produces insights which are transformed into commands to the device to operate more efficiently</a:t>
            </a:r>
          </a:p>
          <a:p>
            <a:pPr marL="228600" indent="-228600">
              <a:buFont typeface="+mj-lt"/>
              <a:buAutoNum type="arabicPeriod"/>
            </a:pPr>
            <a:r>
              <a:rPr lang="en-US" sz="700" dirty="0"/>
              <a:t>The telemetry/insights loop continues for the rest of the device’s useful life</a:t>
            </a:r>
          </a:p>
          <a:p>
            <a:pPr marL="228600" indent="-228600">
              <a:buFont typeface="+mj-lt"/>
              <a:buAutoNum type="arabicPeriod"/>
            </a:pPr>
            <a:endParaRPr lang="en-US" sz="700"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2FE5E3C-C611-40B0-BCFF-B1C4AC6055C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75990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00" b="0" i="0" u="none" strike="noStrike" kern="1200" dirty="0">
                <a:solidFill>
                  <a:schemeClr val="tx1"/>
                </a:solidFill>
                <a:effectLst/>
                <a:latin typeface="+mn-lt"/>
                <a:ea typeface="+mn-ea"/>
                <a:cs typeface="+mn-cs"/>
              </a:rPr>
              <a:t>Millions of device can connect to the global endpoint of the Azure IoT Hub Device Provision Service and be assigned to the correct IoT Hub. But If the devices need to change to another IoT Hub, an example could be when devices are sold to another user and now the devices need to connect to another region. IoT Hub device provisioning service can do all of this with one simple </a:t>
            </a:r>
            <a:r>
              <a:rPr lang="en-US" sz="1200" b="0" i="0" u="none" strike="noStrike" kern="1200" dirty="0" err="1">
                <a:solidFill>
                  <a:schemeClr val="tx1"/>
                </a:solidFill>
                <a:effectLst/>
                <a:latin typeface="+mn-lt"/>
                <a:ea typeface="+mn-ea"/>
                <a:cs typeface="+mn-cs"/>
              </a:rPr>
              <a:t>Iot</a:t>
            </a:r>
            <a:r>
              <a:rPr lang="en-US" sz="1200" b="0" i="0" u="none" strike="noStrike" kern="1200" dirty="0">
                <a:solidFill>
                  <a:schemeClr val="tx1"/>
                </a:solidFill>
                <a:effectLst/>
                <a:latin typeface="+mn-lt"/>
                <a:ea typeface="+mn-ea"/>
                <a:cs typeface="+mn-cs"/>
              </a:rPr>
              <a:t> Hub assignment change and allow the devices to sent out a new provision request to fetch the new IoT hub information. This is just a quick demonstration on how re-provisioning works. Devices can reconnect to IoT Hub Device Provisioning Service with a new provisioning request to get reassigned to a new IoT Hub without changing any device code</a:t>
            </a:r>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01DFF2A-5B43-413F-A24E-CE9F40FDD7D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825039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fore we jump into the dev tools and the lab, let’s discuss tier</a:t>
            </a:r>
          </a:p>
          <a:p>
            <a:endParaRPr lang="en-US" dirty="0"/>
          </a:p>
          <a:p>
            <a:r>
              <a:rPr lang="en-US" b="0" i="0" dirty="0">
                <a:solidFill>
                  <a:srgbClr val="2E2E33"/>
                </a:solidFill>
                <a:effectLst/>
                <a:latin typeface="Segoe UI" panose="020B0502040204020203" pitchFamily="34" charset="0"/>
              </a:rPr>
              <a:t>IoT Hub Device Provisioning Service is billed by the number of operations. Operations include device registrations and re-registrations; operations also include service-side changes such as adding enrollment list entries, updating enrollment list entries and get/query operations. Every six months of inactivity on a given enrollment entry will incur a "keep-alive" operation.</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29930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443" rtl="0" eaLnBrk="1" fontAlgn="auto" latinLnBrk="0" hangingPunct="1">
              <a:lnSpc>
                <a:spcPct val="100000"/>
              </a:lnSpc>
              <a:spcBef>
                <a:spcPts val="0"/>
              </a:spcBef>
              <a:spcAft>
                <a:spcPts val="0"/>
              </a:spcAft>
              <a:buClrTx/>
              <a:buSzTx/>
              <a:buFontTx/>
              <a:buNone/>
              <a:tabLst/>
              <a:defRPr/>
            </a:pPr>
            <a:fld id="{B0DDCC18-5A0B-504D-8CCE-4D3433E3AD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44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338244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7805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gradFill>
                  <a:gsLst>
                    <a:gs pos="0">
                      <a:schemeClr val="accent5"/>
                    </a:gs>
                    <a:gs pos="100000">
                      <a:schemeClr val="accent4"/>
                    </a:gs>
                  </a:gsLst>
                  <a:lin ang="2700000" scaled="1"/>
                </a:gradFill>
              </a:rPr>
              <a:t>Transform your business with Io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To start this series, we’ll explain how the Internet of Things (IoT) addresses the problems of efficiency, productivity, safety, and security. We’ll describe Azure IoT components and explain how you combine them to create value for enterprises, enabling digital feedback loops for solutions that extend beyond telemetry with analytics and edge solutions that provide real-time statu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effectLst/>
                <a:latin typeface="Calibri" panose="020F0502020204030204" pitchFamily="34" charset="0"/>
                <a:ea typeface="Times New Roman" panose="02020603050405020304" pitchFamily="18" charset="0"/>
              </a:rPr>
              <a:t>Create an Azure dashboard and resource group.</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effectLst/>
                <a:latin typeface="Calibri" panose="020F0502020204030204" pitchFamily="34" charset="0"/>
                <a:ea typeface="Times New Roman" panose="02020603050405020304" pitchFamily="18" charset="0"/>
              </a:rPr>
              <a:t>Create an IoT hub using the Azure portal.</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effectLst/>
                <a:latin typeface="Calibri" panose="020F0502020204030204" pitchFamily="34" charset="0"/>
                <a:ea typeface="Times New Roman" panose="02020603050405020304" pitchFamily="18" charset="0"/>
              </a:rPr>
              <a:t>Examine features of Azure IoT Hub.</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effectLst/>
                <a:latin typeface="Calibri" panose="020F0502020204030204" pitchFamily="34" charset="0"/>
                <a:ea typeface="Times New Roman" panose="02020603050405020304" pitchFamily="18" charset="0"/>
              </a:rPr>
              <a:t>Create a device provisioning service and link it to your IoT hub.</a:t>
            </a:r>
            <a:endParaRPr lang="en-US" sz="18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endParaRPr lang="en-US" b="1" dirty="0"/>
          </a:p>
          <a:p>
            <a:r>
              <a:rPr lang="en-US" b="1" dirty="0"/>
              <a:t>Connect devices to the clou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In this session, you’ll learn how to set up the development environment used throughout this series. We’ll cover how to connect an IoT device that includes temperature and humidity sensors to Azure. In the labs, you’ll configure a simulated device to connect to Azure IoT Hub. Then you’ll run the simulated device to send telemetry messages and verify that device telemetry is being received.</a:t>
            </a:r>
          </a:p>
          <a:p>
            <a:endParaRPr lang="en-US" dirty="0"/>
          </a:p>
          <a:p>
            <a:r>
              <a:rPr lang="en-US" b="1" dirty="0"/>
              <a:t>Provision devices at Sca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This portion of the workshop walks through a hypothetical asset-monitoring solution that requires IoT devices with sensors for tracking location, temperature, and pressure to be placed in product transport boxes. When a new box enters the system, it is equipped with the new IoT device. The device needs to be </a:t>
            </a:r>
            <a:r>
              <a:rPr lang="en-US" sz="1800" dirty="0" err="1">
                <a:effectLst/>
                <a:latin typeface="Calibri" panose="020F0502020204030204" pitchFamily="34" charset="0"/>
                <a:ea typeface="Calibri" panose="020F0502020204030204" pitchFamily="34" charset="0"/>
              </a:rPr>
              <a:t>autoprovisioned</a:t>
            </a:r>
            <a:r>
              <a:rPr lang="en-US" sz="1800" dirty="0">
                <a:effectLst/>
                <a:latin typeface="Calibri" panose="020F0502020204030204" pitchFamily="34" charset="0"/>
                <a:ea typeface="Calibri" panose="020F0502020204030204" pitchFamily="34" charset="0"/>
              </a:rPr>
              <a:t> to the IoT hub using Azure’s device provisioning service. When the box arrives, the sensor is removed from the box and needs to be “decommissioned” through the device provisioning service. You’ll learn how you can use the device provisioning service to enroll many devices automatically and securely using X.509 certificate authentication.</a:t>
            </a:r>
          </a:p>
          <a:p>
            <a:endParaRPr lang="en-US" dirty="0"/>
          </a:p>
          <a:p>
            <a:r>
              <a:rPr lang="en-US" b="1" dirty="0"/>
              <a:t>Understand IoT message processing analytics and business integr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Preventive maintenance is a key IoT scenario—detect that something is wrong before there is any damage. In this module, you’ll write code to send continuous telemetry to an IoT hub that will use Azure Stream Analytics and a built-in machine learning model to warn of anomalies. Using Power BI to visualize the data stream, you’ll create an event subscription within Azure IoT Hub to set up Azure Event Grid integration that will trigger a logic app to send an alert. We’ll also cover working with time series data using Azure Time Series Insights.</a:t>
            </a:r>
          </a:p>
          <a:p>
            <a:endParaRPr lang="en-US" dirty="0"/>
          </a:p>
          <a:p>
            <a:r>
              <a:rPr lang="en-US" b="1" dirty="0"/>
              <a:t>Build the intelligent edg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With the collection of large amounts of data and the need for urgent responses, you’ll want to bring the intelligence to the edge for processing data and only send the important data to the cloud. We’ll take a deep dive on using an Azure IoT Edge device as a gateway and you’ll learn the different scenarios where an IoT Edge device is on an enterprise network (needs proxy settings) or needs extended offline capabili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0" marR="0"/>
            <a:r>
              <a:rPr lang="en-US" sz="1800" dirty="0">
                <a:effectLst/>
                <a:latin typeface="Calibri" panose="020F0502020204030204" pitchFamily="34" charset="0"/>
                <a:ea typeface="Calibri" panose="020F0502020204030204" pitchFamily="34" charset="0"/>
              </a:rPr>
              <a:t> Build solutions with IoT Central</a:t>
            </a:r>
          </a:p>
          <a:p>
            <a:pPr marL="0" marR="0"/>
            <a:r>
              <a:rPr lang="en-US" sz="1800" dirty="0">
                <a:effectLst/>
                <a:latin typeface="Calibri" panose="020F0502020204030204" pitchFamily="34" charset="0"/>
                <a:ea typeface="Calibri" panose="020F0502020204030204" pitchFamily="34" charset="0"/>
              </a:rPr>
              <a:t>Designed to enable the easy monitoring and management of a fleet of devices, Azure IoT Central encompasses a range of underlying technologies that work together well but can be complicated to implement when many technologies are needed. These technologies include Azure IoT Hub, the Azure device provisioning service, Azure Maps, and others. We’ll also take a look at IoT Plug and Play to interact with a device's capabilities even without knowledge of the underlying device implem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6F27A1F0-49ED-468D-8AED-D4716C3B901C}" type="slidenum">
              <a:rPr lang="en-US" smtClean="0"/>
              <a:t>2</a:t>
            </a:fld>
            <a:endParaRPr lang="en-US"/>
          </a:p>
        </p:txBody>
      </p:sp>
    </p:spTree>
    <p:extLst>
      <p:ext uri="{BB962C8B-B14F-4D97-AF65-F5344CB8AC3E}">
        <p14:creationId xmlns:p14="http://schemas.microsoft.com/office/powerpoint/2010/main" val="23280713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Calibri" panose="020F0502020204030204" pitchFamily="34" charset="0"/>
                <a:ea typeface="Calibri" panose="020F0502020204030204" pitchFamily="34" charset="0"/>
              </a:rPr>
              <a:t>ELP videos/presentation decks, MS Learn and Learn Paths, Instructor Led Training options, AZ220 Study Guide blog</a:t>
            </a:r>
            <a:r>
              <a:rPr lang="en-US" sz="1800" dirty="0">
                <a:effectLst/>
                <a:latin typeface="Calibri" panose="020F0502020204030204" pitchFamily="34" charset="0"/>
                <a:ea typeface="Calibri" panose="020F0502020204030204" pitchFamily="34" charset="0"/>
              </a:rPr>
              <a:t>, </a:t>
            </a:r>
            <a:r>
              <a:rPr lang="en-US" sz="1800" b="1" dirty="0">
                <a:effectLst/>
                <a:latin typeface="Calibri" panose="020F0502020204030204" pitchFamily="34" charset="0"/>
                <a:ea typeface="Calibri" panose="020F0502020204030204" pitchFamily="34" charset="0"/>
              </a:rPr>
              <a:t>IoT Demo GitHub</a:t>
            </a:r>
            <a:r>
              <a:rPr lang="en-US" sz="1800" dirty="0">
                <a:effectLst/>
                <a:latin typeface="Calibri" panose="020F0502020204030204" pitchFamily="34" charset="0"/>
                <a:ea typeface="Calibri" panose="020F0502020204030204" pitchFamily="34" charset="0"/>
              </a:rPr>
              <a:t> and ultimately encouraging people to sign up for the </a:t>
            </a:r>
            <a:r>
              <a:rPr lang="en-US" sz="1800" b="1" dirty="0">
                <a:effectLst/>
                <a:latin typeface="Calibri" panose="020F0502020204030204" pitchFamily="34" charset="0"/>
                <a:ea typeface="Calibri" panose="020F0502020204030204" pitchFamily="34" charset="0"/>
              </a:rPr>
              <a:t>30 Days to Learn it challenge</a:t>
            </a:r>
            <a:r>
              <a:rPr lang="en-US" sz="1800" dirty="0">
                <a:effectLst/>
                <a:latin typeface="Calibri" panose="020F0502020204030204" pitchFamily="34" charset="0"/>
                <a:ea typeface="Calibri" panose="020F0502020204030204" pitchFamily="34" charset="0"/>
              </a:rPr>
              <a:t> to earn 50% off the certification.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38764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dditionally, MS Learn offers </a:t>
            </a:r>
            <a:r>
              <a:rPr kumimoji="0" lang="en-US" sz="18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8 Learning Paths </a:t>
            </a: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designed to help with certification exam prep as well as deeper concepts targeted at different roles including IoT developer, data engineer, solution architect, and administrato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Calibri" panose="020F0502020204030204" pitchFamily="34" charset="0"/>
                <a:ea typeface="Calibri" panose="020F0502020204030204" pitchFamily="34" charset="0"/>
              </a:rPr>
              <a:t>ELP videos/presentation decks, MS Learn and Learn Paths, Instructor Led Training options, AZ220 Study Guide blog</a:t>
            </a:r>
            <a:r>
              <a:rPr lang="en-US" sz="1800" dirty="0">
                <a:effectLst/>
                <a:latin typeface="Calibri" panose="020F0502020204030204" pitchFamily="34" charset="0"/>
                <a:ea typeface="Calibri" panose="020F0502020204030204" pitchFamily="34" charset="0"/>
              </a:rPr>
              <a:t>, </a:t>
            </a:r>
            <a:r>
              <a:rPr lang="en-US" sz="1800" b="1" dirty="0">
                <a:effectLst/>
                <a:latin typeface="Calibri" panose="020F0502020204030204" pitchFamily="34" charset="0"/>
                <a:ea typeface="Calibri" panose="020F0502020204030204" pitchFamily="34" charset="0"/>
              </a:rPr>
              <a:t>IoT Demo GitHub</a:t>
            </a:r>
            <a:r>
              <a:rPr lang="en-US" sz="1800" dirty="0">
                <a:effectLst/>
                <a:latin typeface="Calibri" panose="020F0502020204030204" pitchFamily="34" charset="0"/>
                <a:ea typeface="Calibri" panose="020F0502020204030204" pitchFamily="34" charset="0"/>
              </a:rPr>
              <a:t> and ultimately encouraging people to sign up for the </a:t>
            </a:r>
            <a:r>
              <a:rPr lang="en-US" sz="1800" b="1" dirty="0">
                <a:effectLst/>
                <a:latin typeface="Calibri" panose="020F0502020204030204" pitchFamily="34" charset="0"/>
                <a:ea typeface="Calibri" panose="020F0502020204030204" pitchFamily="34" charset="0"/>
              </a:rPr>
              <a:t>30 Days to Learn it challenge</a:t>
            </a:r>
            <a:r>
              <a:rPr lang="en-US" sz="1800" dirty="0">
                <a:effectLst/>
                <a:latin typeface="Calibri" panose="020F0502020204030204" pitchFamily="34" charset="0"/>
                <a:ea typeface="Calibri" panose="020F0502020204030204" pitchFamily="34" charset="0"/>
              </a:rPr>
              <a:t> to earn 50% off the certific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Aka.ms/30dayscsc</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0373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Calibri" panose="020F0502020204030204" pitchFamily="34" charset="0"/>
                <a:ea typeface="Calibri" panose="020F0502020204030204" pitchFamily="34" charset="0"/>
              </a:rPr>
              <a:t>ELP videos/presentation decks, MS Learn and Learn Paths, Instructor Led Training options, AZ220 Study Guide blog</a:t>
            </a:r>
            <a:r>
              <a:rPr lang="en-US" sz="1800" dirty="0">
                <a:effectLst/>
                <a:latin typeface="Calibri" panose="020F0502020204030204" pitchFamily="34" charset="0"/>
                <a:ea typeface="Calibri" panose="020F0502020204030204" pitchFamily="34" charset="0"/>
              </a:rPr>
              <a:t>, </a:t>
            </a:r>
            <a:r>
              <a:rPr lang="en-US" sz="1800" b="1" dirty="0">
                <a:effectLst/>
                <a:latin typeface="Calibri" panose="020F0502020204030204" pitchFamily="34" charset="0"/>
                <a:ea typeface="Calibri" panose="020F0502020204030204" pitchFamily="34" charset="0"/>
              </a:rPr>
              <a:t>IoT Demo GitHub</a:t>
            </a:r>
            <a:r>
              <a:rPr lang="en-US" sz="1800" dirty="0">
                <a:effectLst/>
                <a:latin typeface="Calibri" panose="020F0502020204030204" pitchFamily="34" charset="0"/>
                <a:ea typeface="Calibri" panose="020F0502020204030204" pitchFamily="34" charset="0"/>
              </a:rPr>
              <a:t> and ultimately encouraging people to sign up for the </a:t>
            </a:r>
            <a:r>
              <a:rPr lang="en-US" sz="1800" b="1" dirty="0">
                <a:effectLst/>
                <a:latin typeface="Calibri" panose="020F0502020204030204" pitchFamily="34" charset="0"/>
                <a:ea typeface="Calibri" panose="020F0502020204030204" pitchFamily="34" charset="0"/>
              </a:rPr>
              <a:t>30 Days to Learn it challenge</a:t>
            </a:r>
            <a:r>
              <a:rPr lang="en-US" sz="1800" dirty="0">
                <a:effectLst/>
                <a:latin typeface="Calibri" panose="020F0502020204030204" pitchFamily="34" charset="0"/>
                <a:ea typeface="Calibri" panose="020F0502020204030204" pitchFamily="34" charset="0"/>
              </a:rPr>
              <a:t> to earn 50% off the certific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Aka.ms/30dayscsc</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23287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Calibri" panose="020F0502020204030204" pitchFamily="34" charset="0"/>
                <a:ea typeface="Calibri" panose="020F0502020204030204" pitchFamily="34" charset="0"/>
              </a:rPr>
              <a:t>ELP videos/presentation decks, MS Learn and Learn Paths, Instructor Led Training options, AZ220 Study Guide blog</a:t>
            </a:r>
            <a:r>
              <a:rPr lang="en-US" sz="1800" dirty="0">
                <a:effectLst/>
                <a:latin typeface="Calibri" panose="020F0502020204030204" pitchFamily="34" charset="0"/>
                <a:ea typeface="Calibri" panose="020F0502020204030204" pitchFamily="34" charset="0"/>
              </a:rPr>
              <a:t>, </a:t>
            </a:r>
            <a:r>
              <a:rPr lang="en-US" sz="1800" b="1" dirty="0">
                <a:effectLst/>
                <a:latin typeface="Calibri" panose="020F0502020204030204" pitchFamily="34" charset="0"/>
                <a:ea typeface="Calibri" panose="020F0502020204030204" pitchFamily="34" charset="0"/>
              </a:rPr>
              <a:t>IoT Demo GitHub</a:t>
            </a:r>
            <a:r>
              <a:rPr lang="en-US" sz="1800" dirty="0">
                <a:effectLst/>
                <a:latin typeface="Calibri" panose="020F0502020204030204" pitchFamily="34" charset="0"/>
                <a:ea typeface="Calibri" panose="020F0502020204030204" pitchFamily="34" charset="0"/>
              </a:rPr>
              <a:t> and ultimately encouraging people to sign up for the </a:t>
            </a:r>
            <a:r>
              <a:rPr lang="en-US" sz="1800" b="1" dirty="0">
                <a:effectLst/>
                <a:latin typeface="Calibri" panose="020F0502020204030204" pitchFamily="34" charset="0"/>
                <a:ea typeface="Calibri" panose="020F0502020204030204" pitchFamily="34" charset="0"/>
              </a:rPr>
              <a:t>30 Days to Learn it challenge</a:t>
            </a:r>
            <a:r>
              <a:rPr lang="en-US" sz="1800" dirty="0">
                <a:effectLst/>
                <a:latin typeface="Calibri" panose="020F0502020204030204" pitchFamily="34" charset="0"/>
                <a:ea typeface="Calibri" panose="020F0502020204030204" pitchFamily="34" charset="0"/>
              </a:rPr>
              <a:t> to earn 50% off the certification.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74974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Calibri" panose="020F0502020204030204" pitchFamily="34" charset="0"/>
                <a:ea typeface="Calibri" panose="020F0502020204030204" pitchFamily="34" charset="0"/>
              </a:rPr>
              <a:t>ELP videos/presentation decks, MS Learn and Learn Paths, Instructor Led Training options, AZ220 Study Guide blog</a:t>
            </a:r>
            <a:r>
              <a:rPr lang="en-US" sz="1800" dirty="0">
                <a:effectLst/>
                <a:latin typeface="Calibri" panose="020F0502020204030204" pitchFamily="34" charset="0"/>
                <a:ea typeface="Calibri" panose="020F0502020204030204" pitchFamily="34" charset="0"/>
              </a:rPr>
              <a:t>, </a:t>
            </a:r>
            <a:r>
              <a:rPr lang="en-US" sz="1800" b="1" dirty="0">
                <a:effectLst/>
                <a:latin typeface="Calibri" panose="020F0502020204030204" pitchFamily="34" charset="0"/>
                <a:ea typeface="Calibri" panose="020F0502020204030204" pitchFamily="34" charset="0"/>
              </a:rPr>
              <a:t>IoT Demo GitHub</a:t>
            </a:r>
            <a:r>
              <a:rPr lang="en-US" sz="1800" dirty="0">
                <a:effectLst/>
                <a:latin typeface="Calibri" panose="020F0502020204030204" pitchFamily="34" charset="0"/>
                <a:ea typeface="Calibri" panose="020F0502020204030204" pitchFamily="34" charset="0"/>
              </a:rPr>
              <a:t> and ultimately encouraging people to sign up for the </a:t>
            </a:r>
            <a:r>
              <a:rPr lang="en-US" sz="1800" b="1" dirty="0">
                <a:effectLst/>
                <a:latin typeface="Calibri" panose="020F0502020204030204" pitchFamily="34" charset="0"/>
                <a:ea typeface="Calibri" panose="020F0502020204030204" pitchFamily="34" charset="0"/>
              </a:rPr>
              <a:t>30 Days to Learn it challenge</a:t>
            </a:r>
            <a:r>
              <a:rPr lang="en-US" sz="1800" dirty="0">
                <a:effectLst/>
                <a:latin typeface="Calibri" panose="020F0502020204030204" pitchFamily="34" charset="0"/>
                <a:ea typeface="Calibri" panose="020F0502020204030204" pitchFamily="34" charset="0"/>
              </a:rPr>
              <a:t> to earn 50% off the certification.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27A1F0-49ED-468D-8AED-D4716C3B90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82166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069020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b="1" i="0" dirty="0">
                <a:solidFill>
                  <a:srgbClr val="171717"/>
                </a:solidFill>
                <a:effectLst/>
                <a:latin typeface="Segoe UI" panose="020B0502040204020203" pitchFamily="34" charset="0"/>
              </a:rPr>
              <a:t>Device provisioning.</a:t>
            </a:r>
            <a:r>
              <a:rPr lang="en-US" b="0" i="0" dirty="0">
                <a:solidFill>
                  <a:srgbClr val="171717"/>
                </a:solidFill>
                <a:effectLst/>
                <a:latin typeface="Segoe UI" panose="020B0502040204020203" pitchFamily="34" charset="0"/>
              </a:rPr>
              <a:t> For registering and connecting large sets of devices, we recommend using the </a:t>
            </a:r>
            <a:r>
              <a:rPr lang="en-US" b="0" i="0" u="none" strike="noStrike" dirty="0">
                <a:effectLst/>
                <a:latin typeface="Segoe UI" panose="020B0502040204020203" pitchFamily="34" charset="0"/>
                <a:hlinkClick r:id="rId3"/>
              </a:rPr>
              <a:t>IoT Hub Device Provisioning Service</a:t>
            </a:r>
            <a:r>
              <a:rPr lang="en-US" b="0" i="0" dirty="0">
                <a:solidFill>
                  <a:srgbClr val="171717"/>
                </a:solidFill>
                <a:effectLst/>
                <a:latin typeface="Segoe UI" panose="020B0502040204020203" pitchFamily="34" charset="0"/>
              </a:rPr>
              <a:t> (DPS). DPS lets you assign and register devices to specific Azure IoT Hub endpoints at scale.</a:t>
            </a:r>
          </a:p>
          <a:p>
            <a:pPr marL="0" indent="0">
              <a:buFont typeface="+mj-lt"/>
              <a:buNone/>
            </a:pPr>
            <a:endParaRPr lang="en-US" b="0" i="0" dirty="0">
              <a:solidFill>
                <a:srgbClr val="171717"/>
              </a:solidFill>
              <a:effectLst/>
              <a:latin typeface="Segoe UI" panose="020B0502040204020203" pitchFamily="34" charset="0"/>
            </a:endParaRPr>
          </a:p>
          <a:p>
            <a:pPr marL="0" indent="0">
              <a:buFont typeface="+mj-lt"/>
              <a:buNone/>
            </a:pPr>
            <a:r>
              <a:rPr lang="en-AU" dirty="0"/>
              <a:t>Quick recap from the </a:t>
            </a:r>
            <a:r>
              <a:rPr lang="en-US" dirty="0">
                <a:solidFill>
                  <a:schemeClr val="dk1"/>
                </a:solidFill>
              </a:rPr>
              <a:t>Deciphering Data Introduction session</a:t>
            </a:r>
            <a:endParaRPr lang="en-AU" dirty="0"/>
          </a:p>
          <a:p>
            <a:pPr marL="228600" indent="-228600">
              <a:buFont typeface="+mj-lt"/>
              <a:buAutoNum type="arabicPeriod"/>
            </a:pPr>
            <a:r>
              <a:rPr lang="en-AU" dirty="0"/>
              <a:t>Things :</a:t>
            </a:r>
          </a:p>
          <a:p>
            <a:pPr marL="228600" lvl="6" indent="-228600">
              <a:buFont typeface="Arial" panose="020B0604020202020204" pitchFamily="34" charset="0"/>
              <a:buChar char="•"/>
            </a:pPr>
            <a:r>
              <a:rPr lang="en-AU" dirty="0"/>
              <a:t>Directly connected, via a gateway, or intelligent edge devices</a:t>
            </a:r>
          </a:p>
          <a:p>
            <a:pPr marL="228600" lvl="4" indent="-228600">
              <a:buFont typeface="Arial" panose="020B0604020202020204" pitchFamily="34" charset="0"/>
              <a:buChar char="•"/>
            </a:pPr>
            <a:r>
              <a:rPr lang="en-AU" dirty="0"/>
              <a:t>If you are a device developer you need to be thinking about message types, data types, serialisation, and metadata as these simply data processing in the cloud.</a:t>
            </a:r>
          </a:p>
          <a:p>
            <a:pPr marL="228600" lvl="4" indent="-228600">
              <a:buFont typeface="+mj-lt"/>
              <a:buAutoNum type="arabicPeriod"/>
            </a:pPr>
            <a:r>
              <a:rPr lang="en-AU" dirty="0"/>
              <a:t>Insights</a:t>
            </a:r>
          </a:p>
          <a:p>
            <a:pPr marL="228600" lvl="5" indent="-228600">
              <a:buFont typeface="Arial" panose="020B0604020202020204" pitchFamily="34" charset="0"/>
              <a:buChar char="•"/>
            </a:pPr>
            <a:r>
              <a:rPr lang="en-AU" dirty="0"/>
              <a:t>Stream processing, data transformation, and Storing</a:t>
            </a:r>
          </a:p>
          <a:p>
            <a:pPr marL="228600" lvl="5" indent="-228600">
              <a:buFont typeface="Arial" panose="020B0604020202020204" pitchFamily="34" charset="0"/>
              <a:buChar char="•"/>
            </a:pPr>
            <a:r>
              <a:rPr lang="en-AU" dirty="0"/>
              <a:t>Remember to consider the volume and value of data as this will guide you as to where you are storing data</a:t>
            </a:r>
          </a:p>
          <a:p>
            <a:pPr marL="228600" lvl="5" indent="-228600">
              <a:buFont typeface="Arial" panose="020B0604020202020204" pitchFamily="34" charset="0"/>
              <a:buChar char="•"/>
            </a:pPr>
            <a:r>
              <a:rPr lang="en-AU" dirty="0"/>
              <a:t>Actions</a:t>
            </a:r>
          </a:p>
          <a:p>
            <a:pPr marL="228600" marR="0" lvl="5" indent="-228600" defTabSz="228554" eaLnBrk="1" fontAlgn="auto" latinLnBrk="0" hangingPunct="1">
              <a:lnSpc>
                <a:spcPct val="117999"/>
              </a:lnSpc>
              <a:spcBef>
                <a:spcPts val="0"/>
              </a:spcBef>
              <a:spcAft>
                <a:spcPts val="0"/>
              </a:spcAft>
              <a:buClrTx/>
              <a:buSzTx/>
              <a:buFont typeface="Arial" panose="020B0604020202020204" pitchFamily="34" charset="0"/>
              <a:buChar char="•"/>
              <a:tabLst/>
              <a:defRPr/>
            </a:pPr>
            <a:r>
              <a:rPr lang="en-AU" dirty="0"/>
              <a:t>Integration with business systems</a:t>
            </a:r>
          </a:p>
          <a:p>
            <a:pPr marL="228600" lvl="5" indent="-228600">
              <a:buFont typeface="+mj-lt"/>
              <a:buAutoNum type="arabicPeriod"/>
            </a:pPr>
            <a:r>
              <a:rPr lang="en-AU" dirty="0"/>
              <a:t>Make better business decision based on data</a:t>
            </a:r>
          </a:p>
          <a:p>
            <a:pPr marL="228600" lvl="5" indent="-228600">
              <a:buFont typeface="Arial" panose="020B0604020202020204" pitchFamily="34" charset="0"/>
              <a:buChar char="•"/>
            </a:pPr>
            <a:r>
              <a:rPr lang="en-AU" dirty="0"/>
              <a:t>Opportunities to automate</a:t>
            </a:r>
          </a:p>
          <a:p>
            <a:pPr marL="228600" lvl="5" indent="-228600">
              <a:buFont typeface="Arial" panose="020B0604020202020204" pitchFamily="34" charset="0"/>
              <a:buChar char="•"/>
            </a:pPr>
            <a:r>
              <a:rPr lang="en-AU" dirty="0"/>
              <a:t>Batch analytics and training machine learning</a:t>
            </a:r>
          </a:p>
          <a:p>
            <a:pPr marL="228600" lvl="5" indent="-228600">
              <a:buFont typeface="Arial" panose="020B0604020202020204" pitchFamily="34" charset="0"/>
              <a:buChar char="•"/>
            </a:pPr>
            <a:endParaRPr lang="en-AU" dirty="0"/>
          </a:p>
        </p:txBody>
      </p:sp>
    </p:spTree>
    <p:extLst>
      <p:ext uri="{BB962C8B-B14F-4D97-AF65-F5344CB8AC3E}">
        <p14:creationId xmlns:p14="http://schemas.microsoft.com/office/powerpoint/2010/main" val="32407862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FF0000"/>
                </a:solidFill>
              </a:rPr>
              <a:t>Our foundational technology investments are the underpinning for all of thi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FF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FF0000"/>
                </a:solidFill>
              </a:rPr>
              <a:t>Simply building IoT solutions and reducing the complexity of building end to end solutions. Plus connect to the rest of your busines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FF0000"/>
                </a:solidFill>
              </a:rPr>
              <a:t>We have products and services for both the device and cloud side. Plus, products with Azure IoT Central to help you build an IoT solution quickly without the need of any cloud solution development skills requir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latin typeface="Calibri"/>
              <a:cs typeface="Calibr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9/2021 4:1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1231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3434" rtl="0" eaLnBrk="1" fontAlgn="auto" latinLnBrk="0" hangingPunct="1">
              <a:lnSpc>
                <a:spcPct val="100000"/>
              </a:lnSpc>
              <a:spcBef>
                <a:spcPct val="0"/>
              </a:spcBef>
              <a:spcAft>
                <a:spcPts val="600"/>
              </a:spcAft>
              <a:buClrTx/>
              <a:buSzTx/>
              <a:buFontTx/>
              <a:buNone/>
              <a:tabLst/>
              <a:defRPr/>
            </a:pPr>
            <a:r>
              <a:rPr lang="en-US" sz="1200" b="1" dirty="0">
                <a:gradFill>
                  <a:gsLst>
                    <a:gs pos="0">
                      <a:srgbClr val="0078D3"/>
                    </a:gs>
                    <a:gs pos="100000">
                      <a:srgbClr val="0078D3"/>
                    </a:gs>
                  </a:gsLst>
                  <a:lin ang="5400000" scaled="0"/>
                </a:gradFill>
                <a:latin typeface="+mn-lt"/>
                <a:cs typeface="Segoe UI" pitchFamily="34" charset="0"/>
              </a:rPr>
              <a:t>Azure IoT Central </a:t>
            </a:r>
            <a:r>
              <a:rPr lang="en-US" sz="1200" b="0" i="0" kern="1200" dirty="0">
                <a:solidFill>
                  <a:srgbClr val="181210"/>
                </a:solidFill>
                <a:effectLst/>
                <a:latin typeface="+mn-lt"/>
                <a:ea typeface="+mn-ea"/>
                <a:cs typeface="+mn-cs"/>
              </a:rPr>
              <a:t>is the easiest and most cost-effective way to connect and manage devices at scale. It</a:t>
            </a:r>
            <a:r>
              <a:rPr lang="en-US" sz="1200" b="0" i="0" kern="1200" noProof="0" dirty="0">
                <a:solidFill>
                  <a:srgbClr val="181210"/>
                </a:solidFill>
                <a:effectLst/>
                <a:latin typeface="+mn-lt"/>
                <a:ea typeface="+mn-ea"/>
                <a:cs typeface="+mn-cs"/>
              </a:rPr>
              <a:t> connects your IoT devices to the cloud faster than any other platform. You can find new devices matched to your solution in the Azure Certified for IoT device catalog. Also, we understand how hard it is to keep devices connected and healthy. Azure IoT Central lets you reconfigure and update devices with centralized device management. In addition, the connectors and extensibility APIs bridge the gap between your business applications and IoT solu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spc="-50" dirty="0">
              <a:gradFill>
                <a:gsLst>
                  <a:gs pos="0">
                    <a:srgbClr val="0078D3"/>
                  </a:gs>
                  <a:gs pos="100000">
                    <a:srgbClr val="0078D3"/>
                  </a:gs>
                </a:gsLst>
                <a:lin ang="5400000" scaled="1"/>
              </a:gradFill>
              <a:latin typeface="+mn-l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dirty="0">
                <a:gradFill>
                  <a:gsLst>
                    <a:gs pos="0">
                      <a:srgbClr val="0078D3"/>
                    </a:gs>
                    <a:gs pos="100000">
                      <a:srgbClr val="0078D3"/>
                    </a:gs>
                  </a:gsLst>
                  <a:lin ang="5400000" scaled="0"/>
                </a:gradFill>
                <a:latin typeface="+mn-lt"/>
                <a:cs typeface="Segoe UI" pitchFamily="34" charset="0"/>
              </a:rPr>
              <a:t>Azure IoT Hub is a Platform as a Service. </a:t>
            </a:r>
            <a:r>
              <a:rPr lang="en-US" sz="1200" b="0" dirty="0">
                <a:gradFill>
                  <a:gsLst>
                    <a:gs pos="0">
                      <a:srgbClr val="0078D3"/>
                    </a:gs>
                    <a:gs pos="100000">
                      <a:srgbClr val="0078D3"/>
                    </a:gs>
                  </a:gsLst>
                  <a:lin ang="5400000" scaled="0"/>
                </a:gradFill>
                <a:latin typeface="+mn-lt"/>
                <a:cs typeface="Segoe UI" pitchFamily="34" charset="0"/>
              </a:rPr>
              <a:t>With it you can do the follow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gradFill>
                  <a:gsLst>
                    <a:gs pos="0">
                      <a:srgbClr val="000000"/>
                    </a:gs>
                    <a:gs pos="100000">
                      <a:srgbClr val="000000"/>
                    </a:gs>
                  </a:gsLst>
                  <a:lin ang="5400000" scaled="0"/>
                </a:gradFill>
                <a:latin typeface="+mn-lt"/>
              </a:rPr>
              <a:t>Establish bi-directional communication with billions of IoT de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gradFill>
                  <a:gsLst>
                    <a:gs pos="0">
                      <a:srgbClr val="000000"/>
                    </a:gs>
                    <a:gs pos="100000">
                      <a:srgbClr val="000000"/>
                    </a:gs>
                  </a:gsLst>
                  <a:lin ang="5400000" scaled="0"/>
                </a:gradFill>
                <a:latin typeface="+mn-lt"/>
              </a:rPr>
              <a:t>Enhance security with per device authent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gradFill>
                  <a:gsLst>
                    <a:gs pos="0">
                      <a:srgbClr val="000000"/>
                    </a:gs>
                    <a:gs pos="100000">
                      <a:srgbClr val="000000"/>
                    </a:gs>
                  </a:gsLst>
                  <a:lin ang="5400000" scaled="0"/>
                </a:gradFill>
                <a:latin typeface="+mn-lt"/>
              </a:rPr>
              <a:t>Provision devices at scale with IoT Hub Device Provisioning Serv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gradFill>
                  <a:gsLst>
                    <a:gs pos="0">
                      <a:srgbClr val="000000"/>
                    </a:gs>
                    <a:gs pos="100000">
                      <a:srgbClr val="000000"/>
                    </a:gs>
                  </a:gsLst>
                  <a:lin ang="5400000" scaled="0"/>
                </a:gradFill>
                <a:latin typeface="+mn-lt"/>
              </a:rPr>
              <a:t>Manage devices at scale with device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Use </a:t>
            </a:r>
            <a:r>
              <a:rPr lang="en-US" dirty="0">
                <a:gradFill>
                  <a:gsLst>
                    <a:gs pos="0">
                      <a:srgbClr val="000000"/>
                    </a:gs>
                    <a:gs pos="100000">
                      <a:srgbClr val="000000"/>
                    </a:gs>
                  </a:gsLst>
                  <a:lin ang="5400000" scaled="0"/>
                </a:gradFill>
                <a:latin typeface="+mn-lt"/>
              </a:rPr>
              <a:t>multi-language and open source SD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81210"/>
                </a:solidFill>
                <a:effectLst/>
                <a:latin typeface="+mn-lt"/>
              </a:rPr>
              <a:t>A Digital Twin (DT) </a:t>
            </a:r>
            <a:r>
              <a:rPr lang="en-US" b="0" i="0" dirty="0">
                <a:solidFill>
                  <a:srgbClr val="181210"/>
                </a:solidFill>
                <a:effectLst/>
                <a:latin typeface="+mn-lt"/>
              </a:rPr>
              <a:t>is a dynamic digital representation of a physical piece of equipment, or thing, and its associated environment.  Every DT has a dynamic data model containing only a few, or even thousands, of data attributes of the physical thing or system it represents.  Attributes are associated with sensors that are measuring temperature, pressure, and other variables and associated physics in order to represent real-world operating conditions as well as static values like the installation date or OEM. </a:t>
            </a:r>
            <a:r>
              <a:rPr lang="en-US" sz="1200" kern="1200" dirty="0">
                <a:solidFill>
                  <a:schemeClr val="tx1"/>
                </a:solidFill>
                <a:effectLst/>
                <a:latin typeface="+mn-lt"/>
                <a:ea typeface="+mn-ea"/>
                <a:cs typeface="+mn-cs"/>
              </a:rPr>
              <a:t>Azure Digital Twins is the development platform for IoT solutions that model the real world. </a:t>
            </a:r>
            <a:endParaRPr lang="en-US" b="0" i="0" dirty="0">
              <a:solidFill>
                <a:srgbClr val="181210"/>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0">
                      <a:srgbClr val="000000"/>
                    </a:gs>
                    <a:gs pos="100000">
                      <a:srgbClr val="000000"/>
                    </a:gs>
                  </a:gsLst>
                  <a:lin ang="5400000" scaled="0"/>
                </a:gradFill>
                <a:latin typeface="+mn-lt"/>
              </a:rPr>
              <a:t>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51413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3434" rtl="0" eaLnBrk="1" fontAlgn="auto" latinLnBrk="0" hangingPunct="1">
              <a:lnSpc>
                <a:spcPct val="100000"/>
              </a:lnSpc>
              <a:spcBef>
                <a:spcPct val="0"/>
              </a:spcBef>
              <a:spcAft>
                <a:spcPts val="600"/>
              </a:spcAft>
              <a:buClrTx/>
              <a:buSzTx/>
              <a:buFontTx/>
              <a:buNone/>
              <a:tabLst/>
              <a:defRPr/>
            </a:pPr>
            <a:r>
              <a:rPr lang="en-US" sz="1200" dirty="0">
                <a:gradFill>
                  <a:gsLst>
                    <a:gs pos="0">
                      <a:srgbClr val="000000"/>
                    </a:gs>
                    <a:gs pos="100000">
                      <a:srgbClr val="000000"/>
                    </a:gs>
                  </a:gsLst>
                  <a:lin ang="5400000" scaled="0"/>
                </a:gradFill>
                <a:latin typeface="+mn-lt"/>
              </a:rPr>
              <a:t>Per device authentication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20079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380803-D4A0-42A3-AE7C-1081912BBDCD}" type="slidenum">
              <a:rPr lang="en-US" smtClean="0"/>
              <a:t>8</a:t>
            </a:fld>
            <a:endParaRPr lang="en-US"/>
          </a:p>
        </p:txBody>
      </p:sp>
    </p:spTree>
    <p:extLst>
      <p:ext uri="{BB962C8B-B14F-4D97-AF65-F5344CB8AC3E}">
        <p14:creationId xmlns:p14="http://schemas.microsoft.com/office/powerpoint/2010/main" val="8953950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9/2021 4:1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5366996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4.xml"/><Relationship Id="rId4" Type="http://schemas.openxmlformats.org/officeDocument/2006/relationships/image" Target="../media/image28.emf"/></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4.xml"/><Relationship Id="rId4" Type="http://schemas.openxmlformats.org/officeDocument/2006/relationships/image" Target="../media/image28.emf"/></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4.xml"/><Relationship Id="rId4" Type="http://schemas.openxmlformats.org/officeDocument/2006/relationships/image" Target="../media/image28.emf"/></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6.xml"/><Relationship Id="rId4" Type="http://schemas.openxmlformats.org/officeDocument/2006/relationships/image" Target="../media/image28.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7.xml"/><Relationship Id="rId4" Type="http://schemas.openxmlformats.org/officeDocument/2006/relationships/image" Target="../media/image28.emf"/></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7.xml"/><Relationship Id="rId4" Type="http://schemas.openxmlformats.org/officeDocument/2006/relationships/image" Target="../media/image28.emf"/></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7.xml"/><Relationship Id="rId4" Type="http://schemas.openxmlformats.org/officeDocument/2006/relationships/image" Target="../media/image28.emf"/></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25.jpe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48.emf"/><Relationship Id="rId1" Type="http://schemas.openxmlformats.org/officeDocument/2006/relationships/slideMaster" Target="../slideMasters/slideMaster10.xml"/><Relationship Id="rId5" Type="http://schemas.openxmlformats.org/officeDocument/2006/relationships/image" Target="../media/image61.png"/><Relationship Id="rId4" Type="http://schemas.openxmlformats.org/officeDocument/2006/relationships/image" Target="../media/image60.sv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10.xml"/><Relationship Id="rId4" Type="http://schemas.openxmlformats.org/officeDocument/2006/relationships/image" Target="../media/image48.emf"/></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10.xml"/><Relationship Id="rId4" Type="http://schemas.openxmlformats.org/officeDocument/2006/relationships/image" Target="../media/image64.png"/></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10.xml"/><Relationship Id="rId4" Type="http://schemas.openxmlformats.org/officeDocument/2006/relationships/image" Target="../media/image67.png"/></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Master" Target="../slideMasters/slideMaster11.xml"/><Relationship Id="rId4" Type="http://schemas.openxmlformats.org/officeDocument/2006/relationships/image" Target="../media/image14.jpeg"/></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1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71.jpeg"/><Relationship Id="rId1" Type="http://schemas.openxmlformats.org/officeDocument/2006/relationships/slideMaster" Target="../slideMasters/slideMaster11.xml"/><Relationship Id="rId4" Type="http://schemas.openxmlformats.org/officeDocument/2006/relationships/image" Target="../media/image25.jpeg"/></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Master" Target="../slideMasters/slideMaster12.xml"/><Relationship Id="rId4" Type="http://schemas.openxmlformats.org/officeDocument/2006/relationships/image" Target="../media/image14.jpeg"/></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1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71.jpeg"/><Relationship Id="rId1" Type="http://schemas.openxmlformats.org/officeDocument/2006/relationships/slideMaster" Target="../slideMasters/slideMaster12.xml"/><Relationship Id="rId4" Type="http://schemas.openxmlformats.org/officeDocument/2006/relationships/image" Target="../media/image25.jpe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jpeg"/><Relationship Id="rId1" Type="http://schemas.openxmlformats.org/officeDocument/2006/relationships/slideMaster" Target="../slideMasters/slideMaster12.xml"/><Relationship Id="rId4" Type="http://schemas.openxmlformats.org/officeDocument/2006/relationships/image" Target="../media/image74.png"/></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slideMaster" Target="../slideMasters/slideMaster13.xml"/><Relationship Id="rId1" Type="http://schemas.openxmlformats.org/officeDocument/2006/relationships/tags" Target="../tags/tag1.xml"/><Relationship Id="rId5" Type="http://schemas.openxmlformats.org/officeDocument/2006/relationships/image" Target="../media/image78.emf"/><Relationship Id="rId4" Type="http://schemas.openxmlformats.org/officeDocument/2006/relationships/oleObject" Target="../embeddings/oleObject1.bin"/></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28.emf"/><Relationship Id="rId1" Type="http://schemas.openxmlformats.org/officeDocument/2006/relationships/slideMaster" Target="../slideMasters/slideMaster14.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4.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4.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4.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4.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4.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4.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5.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15.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slideMaster" Target="../slideMasters/slideMaster15.xml"/><Relationship Id="rId1" Type="http://schemas.openxmlformats.org/officeDocument/2006/relationships/tags" Target="../tags/tag2.xml"/><Relationship Id="rId5" Type="http://schemas.openxmlformats.org/officeDocument/2006/relationships/image" Target="../media/image78.emf"/><Relationship Id="rId4" Type="http://schemas.openxmlformats.org/officeDocument/2006/relationships/oleObject" Target="../embeddings/oleObject1.bin"/></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1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5.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28.emf"/><Relationship Id="rId1" Type="http://schemas.openxmlformats.org/officeDocument/2006/relationships/slideMaster" Target="../slideMasters/slideMaster16.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6.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6.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6.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6.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6.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6.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6.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6.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6.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6.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6.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48.emf"/><Relationship Id="rId1" Type="http://schemas.openxmlformats.org/officeDocument/2006/relationships/slideMaster" Target="../slideMasters/slideMaster17.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7.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524.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529.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7.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9.jpeg"/><Relationship Id="rId1" Type="http://schemas.openxmlformats.org/officeDocument/2006/relationships/slideMaster" Target="../slideMasters/slideMaster18.xml"/><Relationship Id="rId4" Type="http://schemas.openxmlformats.org/officeDocument/2006/relationships/image" Target="../media/image91.jpeg"/></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image" Target="../media/image15.png"/><Relationship Id="rId1" Type="http://schemas.openxmlformats.org/officeDocument/2006/relationships/slideMaster" Target="../slideMasters/slideMaster18.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8.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8.xml"/></Relationships>
</file>

<file path=ppt/slideLayouts/_rels/slideLayout544.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99.jpeg"/><Relationship Id="rId1" Type="http://schemas.openxmlformats.org/officeDocument/2006/relationships/slideMaster" Target="../slideMasters/slideMaster18.xml"/><Relationship Id="rId4" Type="http://schemas.openxmlformats.org/officeDocument/2006/relationships/image" Target="../media/image101.jpeg"/></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18.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18.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18.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104.png"/><Relationship Id="rId1" Type="http://schemas.openxmlformats.org/officeDocument/2006/relationships/slideMaster" Target="../slideMasters/slideMaster18.xml"/><Relationship Id="rId4" Type="http://schemas.openxmlformats.org/officeDocument/2006/relationships/image" Target="../media/image105.png"/></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107.emf"/><Relationship Id="rId1" Type="http://schemas.openxmlformats.org/officeDocument/2006/relationships/slideMaster" Target="../slideMasters/slideMaster19.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08.emf"/><Relationship Id="rId1" Type="http://schemas.openxmlformats.org/officeDocument/2006/relationships/slideMaster" Target="../slideMasters/slideMaster19.xml"/></Relationships>
</file>

<file path=ppt/slideLayouts/_rels/slideLayout556.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image" Target="../media/image109.jpeg"/><Relationship Id="rId1" Type="http://schemas.openxmlformats.org/officeDocument/2006/relationships/slideMaster" Target="../slideMasters/slideMaster19.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107.emf"/><Relationship Id="rId1" Type="http://schemas.openxmlformats.org/officeDocument/2006/relationships/slideMaster" Target="../slideMasters/slideMaster19.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2.xml.rels><?xml version="1.0" encoding="UTF-8" standalone="yes"?>
<Relationships xmlns="http://schemas.openxmlformats.org/package/2006/relationships"><Relationship Id="rId3" Type="http://schemas.openxmlformats.org/officeDocument/2006/relationships/image" Target="../media/image111.jpg"/><Relationship Id="rId2" Type="http://schemas.openxmlformats.org/officeDocument/2006/relationships/image" Target="../media/image110.jpg"/><Relationship Id="rId1" Type="http://schemas.openxmlformats.org/officeDocument/2006/relationships/slideMaster" Target="../slideMasters/slideMaster19.xml"/><Relationship Id="rId4" Type="http://schemas.openxmlformats.org/officeDocument/2006/relationships/image" Target="../media/image112.jpg"/></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113.jpg"/><Relationship Id="rId1" Type="http://schemas.openxmlformats.org/officeDocument/2006/relationships/slideMaster" Target="../slideMasters/slideMaster19.xml"/></Relationships>
</file>

<file path=ppt/slideLayouts/_rels/slideLayout568.xml.rels><?xml version="1.0" encoding="UTF-8" standalone="yes"?>
<Relationships xmlns="http://schemas.openxmlformats.org/package/2006/relationships"><Relationship Id="rId3" Type="http://schemas.openxmlformats.org/officeDocument/2006/relationships/image" Target="../media/image115.jpg"/><Relationship Id="rId2" Type="http://schemas.openxmlformats.org/officeDocument/2006/relationships/image" Target="../media/image114.jpg"/><Relationship Id="rId1" Type="http://schemas.openxmlformats.org/officeDocument/2006/relationships/slideMaster" Target="../slideMasters/slideMaster19.xml"/><Relationship Id="rId4" Type="http://schemas.openxmlformats.org/officeDocument/2006/relationships/image" Target="../media/image116.jpg"/></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9.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9.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9.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108.emf"/><Relationship Id="rId1" Type="http://schemas.openxmlformats.org/officeDocument/2006/relationships/slideMaster" Target="../slideMasters/slideMaster19.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117.emf"/><Relationship Id="rId1" Type="http://schemas.openxmlformats.org/officeDocument/2006/relationships/slideMaster" Target="../slideMasters/slideMaster19.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107.emf"/><Relationship Id="rId1" Type="http://schemas.openxmlformats.org/officeDocument/2006/relationships/slideMaster" Target="../slideMasters/slideMaster19.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108.emf"/><Relationship Id="rId1" Type="http://schemas.openxmlformats.org/officeDocument/2006/relationships/slideMaster" Target="../slideMasters/slideMaster19.xml"/></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image" Target="../media/image109.jpeg"/><Relationship Id="rId1" Type="http://schemas.openxmlformats.org/officeDocument/2006/relationships/slideMaster" Target="../slideMasters/slideMaster19.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107.emf"/><Relationship Id="rId1" Type="http://schemas.openxmlformats.org/officeDocument/2006/relationships/slideMaster" Target="../slideMasters/slideMaster19.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3" Type="http://schemas.openxmlformats.org/officeDocument/2006/relationships/image" Target="../media/image111.jpg"/><Relationship Id="rId2" Type="http://schemas.openxmlformats.org/officeDocument/2006/relationships/image" Target="../media/image110.jpg"/><Relationship Id="rId1" Type="http://schemas.openxmlformats.org/officeDocument/2006/relationships/slideMaster" Target="../slideMasters/slideMaster19.xml"/><Relationship Id="rId4" Type="http://schemas.openxmlformats.org/officeDocument/2006/relationships/image" Target="../media/image112.jpg"/></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113.jpg"/><Relationship Id="rId1" Type="http://schemas.openxmlformats.org/officeDocument/2006/relationships/slideMaster" Target="../slideMasters/slideMaster19.xml"/></Relationships>
</file>

<file path=ppt/slideLayouts/_rels/slideLayout597.xml.rels><?xml version="1.0" encoding="UTF-8" standalone="yes"?>
<Relationships xmlns="http://schemas.openxmlformats.org/package/2006/relationships"><Relationship Id="rId3" Type="http://schemas.openxmlformats.org/officeDocument/2006/relationships/image" Target="../media/image115.jpg"/><Relationship Id="rId2" Type="http://schemas.openxmlformats.org/officeDocument/2006/relationships/image" Target="../media/image114.jpg"/><Relationship Id="rId1" Type="http://schemas.openxmlformats.org/officeDocument/2006/relationships/slideMaster" Target="../slideMasters/slideMaster19.xml"/><Relationship Id="rId4" Type="http://schemas.openxmlformats.org/officeDocument/2006/relationships/image" Target="../media/image116.jpg"/></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9.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9.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9.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108.emf"/><Relationship Id="rId1" Type="http://schemas.openxmlformats.org/officeDocument/2006/relationships/slideMaster" Target="../slideMasters/slideMaster19.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28.emf"/><Relationship Id="rId1" Type="http://schemas.openxmlformats.org/officeDocument/2006/relationships/slideMaster" Target="../slideMasters/slideMaster2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0.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0.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0.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0.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0.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0.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0.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0.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0.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0.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0.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tx2"/>
                    </a:gs>
                    <a:gs pos="100000">
                      <a:schemeClr val="tx2"/>
                    </a:gs>
                  </a:gsLst>
                  <a:lin ang="5400000" scaled="1"/>
                </a:gra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588945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379826692"/>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7001155"/>
      </p:ext>
    </p:extLst>
  </p:cSld>
  <p:clrMapOvr>
    <a:masterClrMapping/>
  </p:clrMapOvr>
  <p:transition advClick="0" advTm="20000">
    <p:push dir="u"/>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0561555"/>
      </p:ext>
    </p:extLst>
  </p:cSld>
  <p:clrMapOvr>
    <a:masterClrMapping/>
  </p:clrMapOvr>
  <p:transition advClick="0" advTm="20000">
    <p:push dir="u"/>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Blank 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1794079"/>
      </p:ext>
    </p:extLst>
  </p:cSld>
  <p:clrMapOvr>
    <a:overrideClrMapping bg1="lt1" tx1="dk1" bg2="lt2" tx2="dk2" accent1="accent1" accent2="accent2" accent3="accent3" accent4="accent4" accent5="accent5" accent6="accent6" hlink="hlink" folHlink="folHlink"/>
  </p:clrMapOvr>
  <p:transition advClick="0" advTm="20000">
    <p:push dir="u"/>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145379220"/>
      </p:ext>
    </p:extLst>
  </p:cSld>
  <p:clrMapOvr>
    <a:overrideClrMapping bg1="dk1" tx1="lt1" bg2="dk2" tx2="lt2" accent1="accent1" accent2="accent2" accent3="accent3" accent4="accent4" accent5="accent5" accent6="accent6" hlink="hlink" folHlink="folHlink"/>
  </p:clrMapOvr>
  <p:transition advClick="0" advTm="20000">
    <p:push dir="u"/>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856429"/>
            <a:ext cx="9624683" cy="677108"/>
          </a:xfrm>
        </p:spPr>
        <p:txBody>
          <a:bodyPr wrap="square" anchor="b" anchorCtr="0">
            <a:spAutoFit/>
          </a:bodyPr>
          <a:lstStyle>
            <a:lvl1pPr>
              <a:defRPr sz="4400">
                <a:gradFill flip="none" rotWithShape="1">
                  <a:gsLst>
                    <a:gs pos="100000">
                      <a:srgbClr val="50E6FF"/>
                    </a:gs>
                    <a:gs pos="0">
                      <a:srgbClr val="0078D4"/>
                    </a:gs>
                  </a:gsLst>
                  <a:lin ang="4800000" scaled="0"/>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2" name="Text Placeholder 4">
            <a:extLst>
              <a:ext uri="{FF2B5EF4-FFF2-40B4-BE49-F238E27FC236}">
                <a16:creationId xmlns:a16="http://schemas.microsoft.com/office/drawing/2014/main" id="{CDDFFF5F-F843-4F0E-BA81-1CC563655509}"/>
              </a:ext>
            </a:extLst>
          </p:cNvPr>
          <p:cNvSpPr>
            <a:spLocks noGrp="1"/>
          </p:cNvSpPr>
          <p:nvPr>
            <p:ph type="body" sz="quarter" idx="15" hasCustomPrompt="1"/>
          </p:nvPr>
        </p:nvSpPr>
        <p:spPr>
          <a:xfrm>
            <a:off x="582042" y="2467908"/>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786757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943899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26850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28726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381200841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205069"/>
            <a:ext cx="4158362" cy="121276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85646"/>
            <a:ext cx="4162425" cy="338554"/>
          </a:xfrm>
        </p:spPr>
        <p:txBody>
          <a:bodyPr/>
          <a:lstStyle>
            <a:lvl1pPr marL="0" indent="0">
              <a:spcBef>
                <a:spcPts val="1200"/>
              </a:spcBef>
              <a:spcAft>
                <a:spcPts val="1200"/>
              </a:spcAft>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8171272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5143013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027452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92700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4180448061"/>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11438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algn="l"/>
            <a:r>
              <a:rPr lang="en-US" sz="6000" b="1">
                <a:solidFill>
                  <a:schemeClr val="accent1"/>
                </a:solidFill>
              </a:rPr>
              <a:t>demo</a:t>
            </a:r>
            <a:endParaRPr lang="en-US" sz="4400" b="1">
              <a:solidFill>
                <a:schemeClr val="accent1"/>
              </a:solidFill>
            </a:endParaRPr>
          </a:p>
        </p:txBody>
      </p:sp>
    </p:spTree>
    <p:extLst>
      <p:ext uri="{BB962C8B-B14F-4D97-AF65-F5344CB8AC3E}">
        <p14:creationId xmlns:p14="http://schemas.microsoft.com/office/powerpoint/2010/main" val="3149874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1255713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1445397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CENT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0835BBD-8C75-480E-8C88-72E936D6B5A7}"/>
              </a:ext>
            </a:extLst>
          </p:cNvPr>
          <p:cNvSpPr>
            <a:spLocks noGrp="1"/>
          </p:cNvSpPr>
          <p:nvPr>
            <p:ph type="pic" sz="quarter" idx="10"/>
          </p:nvPr>
        </p:nvSpPr>
        <p:spPr>
          <a:xfrm>
            <a:off x="0" y="1236663"/>
            <a:ext cx="12368213" cy="4714875"/>
          </a:xfrm>
        </p:spPr>
        <p:txBody>
          <a:bodyPr/>
          <a:lstStyle/>
          <a:p>
            <a:endParaRPr lang="en-US"/>
          </a:p>
        </p:txBody>
      </p:sp>
      <p:sp>
        <p:nvSpPr>
          <p:cNvPr id="10" name="Text Placeholder 9">
            <a:extLst>
              <a:ext uri="{FF2B5EF4-FFF2-40B4-BE49-F238E27FC236}">
                <a16:creationId xmlns:a16="http://schemas.microsoft.com/office/drawing/2014/main" id="{39ED8687-6112-4330-906B-13B4FF982DAD}"/>
              </a:ext>
            </a:extLst>
          </p:cNvPr>
          <p:cNvSpPr>
            <a:spLocks noGrp="1"/>
          </p:cNvSpPr>
          <p:nvPr>
            <p:ph type="body" sz="quarter" idx="11"/>
          </p:nvPr>
        </p:nvSpPr>
        <p:spPr>
          <a:xfrm>
            <a:off x="588963" y="2351088"/>
            <a:ext cx="5986462" cy="2654666"/>
          </a:xfrm>
          <a:solidFill>
            <a:schemeClr val="bg1"/>
          </a:solidFill>
        </p:spPr>
        <p:txBody>
          <a:bodyPr lIns="365760" tIns="274320" rIns="365760" bIns="274320" anchor="ctr">
            <a:noAutofit/>
          </a:bodyPr>
          <a:lstStyle>
            <a:lvl1pPr marL="0" indent="0">
              <a:spcBef>
                <a:spcPts val="0"/>
              </a:spcBef>
              <a:spcAft>
                <a:spcPts val="1200"/>
              </a:spcAft>
              <a:buNone/>
              <a:defRPr sz="2000"/>
            </a:lvl1pPr>
            <a:lvl2pPr marL="0" indent="0">
              <a:spcBef>
                <a:spcPts val="0"/>
              </a:spcBef>
              <a:spcAft>
                <a:spcPts val="1200"/>
              </a:spcAft>
              <a:buNone/>
              <a:defRPr sz="18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Tree>
    <p:extLst>
      <p:ext uri="{BB962C8B-B14F-4D97-AF65-F5344CB8AC3E}">
        <p14:creationId xmlns:p14="http://schemas.microsoft.com/office/powerpoint/2010/main" val="419576673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_CENT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0835BBD-8C75-480E-8C88-72E936D6B5A7}"/>
              </a:ext>
            </a:extLst>
          </p:cNvPr>
          <p:cNvSpPr>
            <a:spLocks noGrp="1"/>
          </p:cNvSpPr>
          <p:nvPr>
            <p:ph type="pic" sz="quarter" idx="10"/>
          </p:nvPr>
        </p:nvSpPr>
        <p:spPr>
          <a:xfrm>
            <a:off x="22225" y="10886"/>
            <a:ext cx="12169775" cy="3383280"/>
          </a:xfrm>
        </p:spPr>
        <p:txBody>
          <a:bodyPr/>
          <a:lstStyle/>
          <a:p>
            <a:endParaRPr lang="en-US"/>
          </a:p>
        </p:txBody>
      </p:sp>
      <p:sp>
        <p:nvSpPr>
          <p:cNvPr id="10" name="Text Placeholder 9">
            <a:extLst>
              <a:ext uri="{FF2B5EF4-FFF2-40B4-BE49-F238E27FC236}">
                <a16:creationId xmlns:a16="http://schemas.microsoft.com/office/drawing/2014/main" id="{39ED8687-6112-4330-906B-13B4FF982DAD}"/>
              </a:ext>
            </a:extLst>
          </p:cNvPr>
          <p:cNvSpPr>
            <a:spLocks noGrp="1"/>
          </p:cNvSpPr>
          <p:nvPr>
            <p:ph type="body" sz="quarter" idx="11"/>
          </p:nvPr>
        </p:nvSpPr>
        <p:spPr>
          <a:xfrm>
            <a:off x="436563" y="318587"/>
            <a:ext cx="5986462" cy="2654666"/>
          </a:xfrm>
          <a:solidFill>
            <a:schemeClr val="bg1"/>
          </a:solidFill>
        </p:spPr>
        <p:txBody>
          <a:bodyPr lIns="365760" tIns="274320" rIns="365760" bIns="274320" anchor="ctr">
            <a:noAutofit/>
          </a:bodyPr>
          <a:lstStyle>
            <a:lvl1pPr marL="0" indent="0">
              <a:spcBef>
                <a:spcPts val="0"/>
              </a:spcBef>
              <a:spcAft>
                <a:spcPts val="1200"/>
              </a:spcAft>
              <a:buNone/>
              <a:defRPr sz="2000"/>
            </a:lvl1pPr>
            <a:lvl2pPr marL="0" indent="0">
              <a:spcBef>
                <a:spcPts val="0"/>
              </a:spcBef>
              <a:spcAft>
                <a:spcPts val="1200"/>
              </a:spcAft>
              <a:buNone/>
              <a:defRPr sz="18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
        <p:nvSpPr>
          <p:cNvPr id="4" name="Picture Placeholder 7">
            <a:extLst>
              <a:ext uri="{FF2B5EF4-FFF2-40B4-BE49-F238E27FC236}">
                <a16:creationId xmlns:a16="http://schemas.microsoft.com/office/drawing/2014/main" id="{FF2E4CF9-471D-4A80-8BBB-785EC4B2DC2E}"/>
              </a:ext>
            </a:extLst>
          </p:cNvPr>
          <p:cNvSpPr>
            <a:spLocks noGrp="1"/>
          </p:cNvSpPr>
          <p:nvPr>
            <p:ph type="pic" sz="quarter" idx="12"/>
          </p:nvPr>
        </p:nvSpPr>
        <p:spPr>
          <a:xfrm>
            <a:off x="1" y="3457302"/>
            <a:ext cx="12192000" cy="3383280"/>
          </a:xfrm>
        </p:spPr>
        <p:txBody>
          <a:bodyPr/>
          <a:lstStyle/>
          <a:p>
            <a:endParaRPr lang="en-US"/>
          </a:p>
        </p:txBody>
      </p:sp>
      <p:sp>
        <p:nvSpPr>
          <p:cNvPr id="5" name="Text Placeholder 9">
            <a:extLst>
              <a:ext uri="{FF2B5EF4-FFF2-40B4-BE49-F238E27FC236}">
                <a16:creationId xmlns:a16="http://schemas.microsoft.com/office/drawing/2014/main" id="{1D2367ED-4D3A-476B-9A24-FF0D4AF418BD}"/>
              </a:ext>
            </a:extLst>
          </p:cNvPr>
          <p:cNvSpPr>
            <a:spLocks noGrp="1"/>
          </p:cNvSpPr>
          <p:nvPr>
            <p:ph type="body" sz="quarter" idx="13"/>
          </p:nvPr>
        </p:nvSpPr>
        <p:spPr>
          <a:xfrm>
            <a:off x="436563" y="3859345"/>
            <a:ext cx="5986462" cy="2654666"/>
          </a:xfrm>
          <a:solidFill>
            <a:schemeClr val="bg1"/>
          </a:solidFill>
        </p:spPr>
        <p:txBody>
          <a:bodyPr lIns="365760" tIns="274320" rIns="365760" bIns="274320" anchor="ctr">
            <a:noAutofit/>
          </a:bodyPr>
          <a:lstStyle>
            <a:lvl1pPr marL="0" indent="0">
              <a:spcBef>
                <a:spcPts val="0"/>
              </a:spcBef>
              <a:spcAft>
                <a:spcPts val="1200"/>
              </a:spcAft>
              <a:buNone/>
              <a:defRPr sz="2000"/>
            </a:lvl1pPr>
            <a:lvl2pPr marL="0" indent="0">
              <a:spcBef>
                <a:spcPts val="0"/>
              </a:spcBef>
              <a:spcAft>
                <a:spcPts val="1200"/>
              </a:spcAft>
              <a:buNone/>
              <a:defRPr sz="18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Tree>
    <p:extLst>
      <p:ext uri="{BB962C8B-B14F-4D97-AF65-F5344CB8AC3E}">
        <p14:creationId xmlns:p14="http://schemas.microsoft.com/office/powerpoint/2010/main" val="394154470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_CENT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0835BBD-8C75-480E-8C88-72E936D6B5A7}"/>
              </a:ext>
            </a:extLst>
          </p:cNvPr>
          <p:cNvSpPr>
            <a:spLocks noGrp="1"/>
          </p:cNvSpPr>
          <p:nvPr>
            <p:ph type="pic" sz="quarter" idx="10"/>
          </p:nvPr>
        </p:nvSpPr>
        <p:spPr>
          <a:xfrm>
            <a:off x="15268" y="10886"/>
            <a:ext cx="4023360" cy="6829696"/>
          </a:xfrm>
        </p:spPr>
        <p:txBody>
          <a:bodyPr/>
          <a:lstStyle/>
          <a:p>
            <a:endParaRPr lang="en-US"/>
          </a:p>
        </p:txBody>
      </p:sp>
      <p:sp>
        <p:nvSpPr>
          <p:cNvPr id="10" name="Text Placeholder 9">
            <a:extLst>
              <a:ext uri="{FF2B5EF4-FFF2-40B4-BE49-F238E27FC236}">
                <a16:creationId xmlns:a16="http://schemas.microsoft.com/office/drawing/2014/main" id="{39ED8687-6112-4330-906B-13B4FF982DAD}"/>
              </a:ext>
            </a:extLst>
          </p:cNvPr>
          <p:cNvSpPr>
            <a:spLocks noGrp="1"/>
          </p:cNvSpPr>
          <p:nvPr>
            <p:ph type="body" sz="quarter" idx="11"/>
          </p:nvPr>
        </p:nvSpPr>
        <p:spPr>
          <a:xfrm>
            <a:off x="542160" y="2914650"/>
            <a:ext cx="2969577" cy="3566160"/>
          </a:xfrm>
          <a:solidFill>
            <a:schemeClr val="bg1">
              <a:alpha val="80000"/>
            </a:schemeClr>
          </a:solidFill>
        </p:spPr>
        <p:txBody>
          <a:bodyPr lIns="274320" tIns="274320" rIns="274320" bIns="274320" anchor="ctr">
            <a:noAutofit/>
          </a:bodyPr>
          <a:lstStyle>
            <a:lvl1pPr marL="0" indent="0">
              <a:spcBef>
                <a:spcPts val="0"/>
              </a:spcBef>
              <a:spcAft>
                <a:spcPts val="1200"/>
              </a:spcAft>
              <a:buNone/>
              <a:defRPr sz="1800"/>
            </a:lvl1pPr>
            <a:lvl2pPr marL="0" indent="0">
              <a:spcBef>
                <a:spcPts val="0"/>
              </a:spcBef>
              <a:spcAft>
                <a:spcPts val="1200"/>
              </a:spcAft>
              <a:buNone/>
              <a:defRPr sz="16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
        <p:nvSpPr>
          <p:cNvPr id="4" name="Picture Placeholder 7">
            <a:extLst>
              <a:ext uri="{FF2B5EF4-FFF2-40B4-BE49-F238E27FC236}">
                <a16:creationId xmlns:a16="http://schemas.microsoft.com/office/drawing/2014/main" id="{FF2E4CF9-471D-4A80-8BBB-785EC4B2DC2E}"/>
              </a:ext>
            </a:extLst>
          </p:cNvPr>
          <p:cNvSpPr>
            <a:spLocks noGrp="1"/>
          </p:cNvSpPr>
          <p:nvPr>
            <p:ph type="pic" sz="quarter" idx="12"/>
          </p:nvPr>
        </p:nvSpPr>
        <p:spPr>
          <a:xfrm>
            <a:off x="4086556" y="0"/>
            <a:ext cx="4023360" cy="6840582"/>
          </a:xfrm>
        </p:spPr>
        <p:txBody>
          <a:bodyPr/>
          <a:lstStyle/>
          <a:p>
            <a:endParaRPr lang="en-US"/>
          </a:p>
        </p:txBody>
      </p:sp>
      <p:sp>
        <p:nvSpPr>
          <p:cNvPr id="5" name="Text Placeholder 9">
            <a:extLst>
              <a:ext uri="{FF2B5EF4-FFF2-40B4-BE49-F238E27FC236}">
                <a16:creationId xmlns:a16="http://schemas.microsoft.com/office/drawing/2014/main" id="{1D2367ED-4D3A-476B-9A24-FF0D4AF418BD}"/>
              </a:ext>
            </a:extLst>
          </p:cNvPr>
          <p:cNvSpPr>
            <a:spLocks noGrp="1"/>
          </p:cNvSpPr>
          <p:nvPr>
            <p:ph type="body" sz="quarter" idx="13"/>
          </p:nvPr>
        </p:nvSpPr>
        <p:spPr>
          <a:xfrm>
            <a:off x="4556298" y="2914650"/>
            <a:ext cx="3083877" cy="3566160"/>
          </a:xfrm>
          <a:solidFill>
            <a:schemeClr val="bg1">
              <a:alpha val="80000"/>
            </a:schemeClr>
          </a:solidFill>
        </p:spPr>
        <p:txBody>
          <a:bodyPr lIns="274320" tIns="274320" rIns="274320" bIns="274320" anchor="ctr">
            <a:noAutofit/>
          </a:bodyPr>
          <a:lstStyle>
            <a:lvl1pPr marL="0" indent="0">
              <a:spcBef>
                <a:spcPts val="0"/>
              </a:spcBef>
              <a:spcAft>
                <a:spcPts val="1200"/>
              </a:spcAft>
              <a:buNone/>
              <a:defRPr sz="1800"/>
            </a:lvl1pPr>
            <a:lvl2pPr marL="0" indent="0">
              <a:spcBef>
                <a:spcPts val="0"/>
              </a:spcBef>
              <a:spcAft>
                <a:spcPts val="1200"/>
              </a:spcAft>
              <a:buNone/>
              <a:defRPr sz="16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
        <p:nvSpPr>
          <p:cNvPr id="6" name="Picture Placeholder 7">
            <a:extLst>
              <a:ext uri="{FF2B5EF4-FFF2-40B4-BE49-F238E27FC236}">
                <a16:creationId xmlns:a16="http://schemas.microsoft.com/office/drawing/2014/main" id="{DF28BA66-4B5D-431B-9E9D-2559C40CA0C6}"/>
              </a:ext>
            </a:extLst>
          </p:cNvPr>
          <p:cNvSpPr>
            <a:spLocks noGrp="1"/>
          </p:cNvSpPr>
          <p:nvPr>
            <p:ph type="pic" sz="quarter" idx="14"/>
          </p:nvPr>
        </p:nvSpPr>
        <p:spPr>
          <a:xfrm>
            <a:off x="8157845" y="0"/>
            <a:ext cx="4023360" cy="6840582"/>
          </a:xfrm>
        </p:spPr>
        <p:txBody>
          <a:bodyPr/>
          <a:lstStyle/>
          <a:p>
            <a:endParaRPr lang="en-US"/>
          </a:p>
        </p:txBody>
      </p:sp>
      <p:sp>
        <p:nvSpPr>
          <p:cNvPr id="7" name="Text Placeholder 9">
            <a:extLst>
              <a:ext uri="{FF2B5EF4-FFF2-40B4-BE49-F238E27FC236}">
                <a16:creationId xmlns:a16="http://schemas.microsoft.com/office/drawing/2014/main" id="{D94FE499-2EF2-4F1F-9F01-C20E274D61D8}"/>
              </a:ext>
            </a:extLst>
          </p:cNvPr>
          <p:cNvSpPr>
            <a:spLocks noGrp="1"/>
          </p:cNvSpPr>
          <p:nvPr>
            <p:ph type="body" sz="quarter" idx="15"/>
          </p:nvPr>
        </p:nvSpPr>
        <p:spPr>
          <a:xfrm>
            <a:off x="8627587" y="2914650"/>
            <a:ext cx="3083877" cy="3566160"/>
          </a:xfrm>
          <a:solidFill>
            <a:schemeClr val="bg1">
              <a:alpha val="80000"/>
            </a:schemeClr>
          </a:solidFill>
        </p:spPr>
        <p:txBody>
          <a:bodyPr lIns="274320" tIns="274320" rIns="274320" bIns="274320" anchor="ctr">
            <a:noAutofit/>
          </a:bodyPr>
          <a:lstStyle>
            <a:lvl1pPr marL="0" indent="0">
              <a:spcBef>
                <a:spcPts val="0"/>
              </a:spcBef>
              <a:spcAft>
                <a:spcPts val="1200"/>
              </a:spcAft>
              <a:buNone/>
              <a:defRPr sz="2000"/>
            </a:lvl1pPr>
            <a:lvl2pPr marL="0" indent="0">
              <a:spcBef>
                <a:spcPts val="0"/>
              </a:spcBef>
              <a:spcAft>
                <a:spcPts val="1200"/>
              </a:spcAft>
              <a:buNone/>
              <a:defRPr sz="16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Tree>
    <p:extLst>
      <p:ext uri="{BB962C8B-B14F-4D97-AF65-F5344CB8AC3E}">
        <p14:creationId xmlns:p14="http://schemas.microsoft.com/office/powerpoint/2010/main" val="251019170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03483137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6_CENT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0835BBD-8C75-480E-8C88-72E936D6B5A7}"/>
              </a:ext>
            </a:extLst>
          </p:cNvPr>
          <p:cNvSpPr>
            <a:spLocks noGrp="1"/>
          </p:cNvSpPr>
          <p:nvPr>
            <p:ph type="pic" sz="quarter" idx="10"/>
          </p:nvPr>
        </p:nvSpPr>
        <p:spPr>
          <a:xfrm>
            <a:off x="15268" y="10886"/>
            <a:ext cx="4023360" cy="6829696"/>
          </a:xfrm>
        </p:spPr>
        <p:txBody>
          <a:bodyPr/>
          <a:lstStyle/>
          <a:p>
            <a:endParaRPr lang="en-US"/>
          </a:p>
        </p:txBody>
      </p:sp>
      <p:sp>
        <p:nvSpPr>
          <p:cNvPr id="10" name="Text Placeholder 9">
            <a:extLst>
              <a:ext uri="{FF2B5EF4-FFF2-40B4-BE49-F238E27FC236}">
                <a16:creationId xmlns:a16="http://schemas.microsoft.com/office/drawing/2014/main" id="{39ED8687-6112-4330-906B-13B4FF982DAD}"/>
              </a:ext>
            </a:extLst>
          </p:cNvPr>
          <p:cNvSpPr>
            <a:spLocks noGrp="1"/>
          </p:cNvSpPr>
          <p:nvPr>
            <p:ph type="body" sz="quarter" idx="11"/>
          </p:nvPr>
        </p:nvSpPr>
        <p:spPr>
          <a:xfrm>
            <a:off x="542160" y="2914650"/>
            <a:ext cx="2969577" cy="3566160"/>
          </a:xfrm>
          <a:solidFill>
            <a:schemeClr val="bg1">
              <a:alpha val="80000"/>
            </a:schemeClr>
          </a:solidFill>
        </p:spPr>
        <p:txBody>
          <a:bodyPr lIns="274320" tIns="274320" rIns="274320" bIns="274320" anchor="ctr">
            <a:noAutofit/>
          </a:bodyPr>
          <a:lstStyle>
            <a:lvl1pPr marL="0" indent="0">
              <a:spcBef>
                <a:spcPts val="0"/>
              </a:spcBef>
              <a:spcAft>
                <a:spcPts val="1200"/>
              </a:spcAft>
              <a:buNone/>
              <a:defRPr sz="1800"/>
            </a:lvl1pPr>
            <a:lvl2pPr marL="0" indent="0">
              <a:spcBef>
                <a:spcPts val="0"/>
              </a:spcBef>
              <a:spcAft>
                <a:spcPts val="1200"/>
              </a:spcAft>
              <a:buNone/>
              <a:defRPr sz="14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
        <p:nvSpPr>
          <p:cNvPr id="4" name="Picture Placeholder 7">
            <a:extLst>
              <a:ext uri="{FF2B5EF4-FFF2-40B4-BE49-F238E27FC236}">
                <a16:creationId xmlns:a16="http://schemas.microsoft.com/office/drawing/2014/main" id="{FF2E4CF9-471D-4A80-8BBB-785EC4B2DC2E}"/>
              </a:ext>
            </a:extLst>
          </p:cNvPr>
          <p:cNvSpPr>
            <a:spLocks noGrp="1"/>
          </p:cNvSpPr>
          <p:nvPr>
            <p:ph type="pic" sz="quarter" idx="12"/>
          </p:nvPr>
        </p:nvSpPr>
        <p:spPr>
          <a:xfrm>
            <a:off x="4086556" y="0"/>
            <a:ext cx="4023360" cy="6840582"/>
          </a:xfrm>
        </p:spPr>
        <p:txBody>
          <a:bodyPr/>
          <a:lstStyle/>
          <a:p>
            <a:endParaRPr lang="en-US"/>
          </a:p>
        </p:txBody>
      </p:sp>
      <p:sp>
        <p:nvSpPr>
          <p:cNvPr id="5" name="Text Placeholder 9">
            <a:extLst>
              <a:ext uri="{FF2B5EF4-FFF2-40B4-BE49-F238E27FC236}">
                <a16:creationId xmlns:a16="http://schemas.microsoft.com/office/drawing/2014/main" id="{1D2367ED-4D3A-476B-9A24-FF0D4AF418BD}"/>
              </a:ext>
            </a:extLst>
          </p:cNvPr>
          <p:cNvSpPr>
            <a:spLocks noGrp="1"/>
          </p:cNvSpPr>
          <p:nvPr>
            <p:ph type="body" sz="quarter" idx="13"/>
          </p:nvPr>
        </p:nvSpPr>
        <p:spPr>
          <a:xfrm>
            <a:off x="4556298" y="2914650"/>
            <a:ext cx="3083877" cy="3566160"/>
          </a:xfrm>
          <a:solidFill>
            <a:schemeClr val="bg1">
              <a:alpha val="80000"/>
            </a:schemeClr>
          </a:solidFill>
        </p:spPr>
        <p:txBody>
          <a:bodyPr lIns="274320" tIns="274320" rIns="274320" bIns="274320" anchor="ctr">
            <a:noAutofit/>
          </a:bodyPr>
          <a:lstStyle>
            <a:lvl1pPr marL="0" indent="0">
              <a:spcBef>
                <a:spcPts val="0"/>
              </a:spcBef>
              <a:spcAft>
                <a:spcPts val="1200"/>
              </a:spcAft>
              <a:buNone/>
              <a:defRPr sz="1800"/>
            </a:lvl1pPr>
            <a:lvl2pPr marL="0" indent="0">
              <a:spcBef>
                <a:spcPts val="0"/>
              </a:spcBef>
              <a:spcAft>
                <a:spcPts val="1200"/>
              </a:spcAft>
              <a:buNone/>
              <a:defRPr sz="14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
        <p:nvSpPr>
          <p:cNvPr id="6" name="Picture Placeholder 7">
            <a:extLst>
              <a:ext uri="{FF2B5EF4-FFF2-40B4-BE49-F238E27FC236}">
                <a16:creationId xmlns:a16="http://schemas.microsoft.com/office/drawing/2014/main" id="{DF28BA66-4B5D-431B-9E9D-2559C40CA0C6}"/>
              </a:ext>
            </a:extLst>
          </p:cNvPr>
          <p:cNvSpPr>
            <a:spLocks noGrp="1"/>
          </p:cNvSpPr>
          <p:nvPr>
            <p:ph type="pic" sz="quarter" idx="14"/>
          </p:nvPr>
        </p:nvSpPr>
        <p:spPr>
          <a:xfrm>
            <a:off x="8157845" y="0"/>
            <a:ext cx="4023360" cy="6840582"/>
          </a:xfrm>
        </p:spPr>
        <p:txBody>
          <a:bodyPr/>
          <a:lstStyle/>
          <a:p>
            <a:endParaRPr lang="en-US"/>
          </a:p>
        </p:txBody>
      </p:sp>
      <p:sp>
        <p:nvSpPr>
          <p:cNvPr id="7" name="Text Placeholder 9">
            <a:extLst>
              <a:ext uri="{FF2B5EF4-FFF2-40B4-BE49-F238E27FC236}">
                <a16:creationId xmlns:a16="http://schemas.microsoft.com/office/drawing/2014/main" id="{D94FE499-2EF2-4F1F-9F01-C20E274D61D8}"/>
              </a:ext>
            </a:extLst>
          </p:cNvPr>
          <p:cNvSpPr>
            <a:spLocks noGrp="1"/>
          </p:cNvSpPr>
          <p:nvPr>
            <p:ph type="body" sz="quarter" idx="15"/>
          </p:nvPr>
        </p:nvSpPr>
        <p:spPr>
          <a:xfrm>
            <a:off x="8627587" y="2914650"/>
            <a:ext cx="3083877" cy="3566160"/>
          </a:xfrm>
          <a:solidFill>
            <a:schemeClr val="bg1">
              <a:alpha val="80000"/>
            </a:schemeClr>
          </a:solidFill>
        </p:spPr>
        <p:txBody>
          <a:bodyPr lIns="274320" tIns="274320" rIns="274320" bIns="274320" anchor="ctr">
            <a:noAutofit/>
          </a:bodyPr>
          <a:lstStyle>
            <a:lvl1pPr marL="0" indent="0">
              <a:spcBef>
                <a:spcPts val="0"/>
              </a:spcBef>
              <a:spcAft>
                <a:spcPts val="1200"/>
              </a:spcAft>
              <a:buNone/>
              <a:defRPr sz="2000"/>
            </a:lvl1pPr>
            <a:lvl2pPr marL="0" indent="0">
              <a:spcBef>
                <a:spcPts val="0"/>
              </a:spcBef>
              <a:spcAft>
                <a:spcPts val="1200"/>
              </a:spcAft>
              <a:buNone/>
              <a:defRPr sz="1400"/>
            </a:lvl2pPr>
            <a:lvl3pPr marL="0" indent="0" algn="r">
              <a:spcBef>
                <a:spcPts val="0"/>
              </a:spcBef>
              <a:buNone/>
              <a:defRPr sz="1200" b="1" kern="0" cap="all" spc="140" baseline="0">
                <a:solidFill>
                  <a:schemeClr val="tx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Tree>
    <p:extLst>
      <p:ext uri="{BB962C8B-B14F-4D97-AF65-F5344CB8AC3E}">
        <p14:creationId xmlns:p14="http://schemas.microsoft.com/office/powerpoint/2010/main" val="92647549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CENTER LOW">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868015"/>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35895582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208935580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313153790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753619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155399263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314790381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29078631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40618401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4149501056"/>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gradFill>
                  <a:gsLst>
                    <a:gs pos="0">
                      <a:schemeClr val="tx1"/>
                    </a:gs>
                    <a:gs pos="100000">
                      <a:schemeClr val="tx1"/>
                    </a:gs>
                  </a:gsLst>
                  <a:lin ang="5400000" scaled="1"/>
                </a:gra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gradFill>
                  <a:gsLst>
                    <a:gs pos="0">
                      <a:schemeClr val="tx2"/>
                    </a:gs>
                    <a:gs pos="100000">
                      <a:schemeClr val="tx2"/>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gradFill>
                  <a:gsLst>
                    <a:gs pos="0">
                      <a:schemeClr val="tx1"/>
                    </a:gs>
                    <a:gs pos="100000">
                      <a:schemeClr val="tx1"/>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Tree>
    <p:extLst>
      <p:ext uri="{BB962C8B-B14F-4D97-AF65-F5344CB8AC3E}">
        <p14:creationId xmlns:p14="http://schemas.microsoft.com/office/powerpoint/2010/main" val="310779329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128938431"/>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centered with sub">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BB4BF58-A979-4DEB-B5C0-812DE1E3801E}"/>
              </a:ext>
            </a:extLst>
          </p:cNvPr>
          <p:cNvSpPr>
            <a:spLocks noGrp="1"/>
          </p:cNvSpPr>
          <p:nvPr>
            <p:ph type="pic" sz="quarter" idx="10"/>
          </p:nvPr>
        </p:nvSpPr>
        <p:spPr>
          <a:xfrm>
            <a:off x="0" y="0"/>
            <a:ext cx="12192000" cy="6858000"/>
          </a:xfrm>
        </p:spPr>
        <p:txBody>
          <a:bodyPr/>
          <a:lstStyle/>
          <a:p>
            <a:endParaRPr lang="en-US"/>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525570297"/>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1158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7681770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883456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833491617"/>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051616066"/>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9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982194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03589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gradFill>
                  <a:gsLst>
                    <a:gs pos="0">
                      <a:schemeClr val="tx1"/>
                    </a:gs>
                    <a:gs pos="100000">
                      <a:schemeClr val="tx1"/>
                    </a:gs>
                  </a:gsLst>
                  <a:lin ang="5400000" scaled="1"/>
                </a:gra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gradFill>
                  <a:gsLst>
                    <a:gs pos="0">
                      <a:schemeClr val="tx2"/>
                    </a:gs>
                    <a:gs pos="100000">
                      <a:schemeClr val="tx2"/>
                    </a:gs>
                  </a:gsLst>
                  <a:lin ang="5400000" scaled="1"/>
                </a:gra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gradFill>
                  <a:gsLst>
                    <a:gs pos="0">
                      <a:schemeClr val="tx1"/>
                    </a:gs>
                    <a:gs pos="100000">
                      <a:schemeClr val="tx1"/>
                    </a:gs>
                  </a:gsLst>
                  <a:lin ang="5400000" scaled="1"/>
                </a:gra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411943119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730172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 grade text">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864896"/>
            <a:ext cx="11653523" cy="923330"/>
          </a:xfrm>
          <a:noFill/>
        </p:spPr>
        <p:txBody>
          <a:bodyPr tIns="91440" bIns="91440" anchor="t" anchorCtr="0">
            <a:spAutoFit/>
          </a:bodyPr>
          <a:lstStyle>
            <a:lvl1pPr>
              <a:defRPr sz="4800" spc="-98" baseline="0">
                <a:gradFill flip="none" rotWithShape="1">
                  <a:gsLst>
                    <a:gs pos="100000">
                      <a:srgbClr val="50E6FF"/>
                    </a:gs>
                    <a:gs pos="0">
                      <a:srgbClr val="0078D4"/>
                    </a:gs>
                  </a:gsLst>
                  <a:lin ang="3600000" scaled="0"/>
                  <a:tileRect/>
                </a:gradFill>
              </a:defRPr>
            </a:lvl1pPr>
          </a:lstStyle>
          <a:p>
            <a:r>
              <a:rPr lang="en-US"/>
              <a:t>Section title</a:t>
            </a:r>
          </a:p>
        </p:txBody>
      </p:sp>
      <p:sp>
        <p:nvSpPr>
          <p:cNvPr id="4" name="Footer Placeholder 1">
            <a:extLst>
              <a:ext uri="{FF2B5EF4-FFF2-40B4-BE49-F238E27FC236}">
                <a16:creationId xmlns:a16="http://schemas.microsoft.com/office/drawing/2014/main" id="{9F11C490-EA2D-CF4C-B93B-C9C44A071C09}"/>
              </a:ext>
            </a:extLst>
          </p:cNvPr>
          <p:cNvSpPr>
            <a:spLocks noGrp="1"/>
          </p:cNvSpPr>
          <p:nvPr>
            <p:ph type="ftr" sz="quarter" idx="10"/>
          </p:nvPr>
        </p:nvSpPr>
        <p:spPr>
          <a:xfrm>
            <a:off x="3456432" y="6400800"/>
            <a:ext cx="5279136" cy="365125"/>
          </a:xfrm>
        </p:spPr>
        <p:txBody>
          <a:bodyPr/>
          <a:lstStyle>
            <a:lvl1pPr>
              <a:defRPr sz="900">
                <a:solidFill>
                  <a:schemeClr val="tx1"/>
                </a:solidFill>
              </a:defRPr>
            </a:lvl1pPr>
          </a:lstStyle>
          <a:p>
            <a:r>
              <a:rPr lang="en-US"/>
              <a:t>MICROSOFT CONFIDENTIAL – NON-DISCLOSURE AGREEMENT REQUIRED</a:t>
            </a:r>
          </a:p>
        </p:txBody>
      </p:sp>
    </p:spTree>
    <p:extLst>
      <p:ext uri="{BB962C8B-B14F-4D97-AF65-F5344CB8AC3E}">
        <p14:creationId xmlns:p14="http://schemas.microsoft.com/office/powerpoint/2010/main" val="77381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436563" y="1103616"/>
            <a:ext cx="11336337" cy="307777"/>
          </a:xfrm>
        </p:spPr>
        <p:txBody>
          <a:bodyPr/>
          <a:lstStyle>
            <a:lvl1pPr algn="ctr">
              <a:defRPr sz="2000" b="0">
                <a:solidFill>
                  <a:schemeClr val="accent6">
                    <a:lumMod val="60000"/>
                    <a:lumOff val="40000"/>
                  </a:schemeClr>
                </a:solidFill>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6668731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Title &amp; 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095685"/>
          </a:xfrm>
        </p:spPr>
        <p:txBody>
          <a:bodyPr/>
          <a:lstStyle>
            <a:lvl1pPr>
              <a:buClr>
                <a:schemeClr val="tx1">
                  <a:lumMod val="50000"/>
                  <a:lumOff val="50000"/>
                </a:schemeClr>
              </a:buClr>
              <a:buSzPct val="100000"/>
              <a:defRPr/>
            </a:lvl1pPr>
            <a:lvl2pPr marL="640080">
              <a:buClr>
                <a:schemeClr val="tx1">
                  <a:lumMod val="50000"/>
                  <a:lumOff val="50000"/>
                </a:schemeClr>
              </a:buClr>
              <a:buSzPct val="100000"/>
              <a:defRPr/>
            </a:lvl2pPr>
            <a:lvl3pPr marL="1097280">
              <a:buClr>
                <a:schemeClr val="tx1">
                  <a:lumMod val="50000"/>
                  <a:lumOff val="50000"/>
                </a:schemeClr>
              </a:buClr>
              <a:buSzPct val="100000"/>
              <a:defRPr/>
            </a:lvl3pPr>
            <a:lvl4pPr>
              <a:buClr>
                <a:schemeClr val="tx1">
                  <a:lumMod val="50000"/>
                  <a:lumOff val="50000"/>
                </a:schemeClr>
              </a:buClr>
              <a:buSzPct val="100000"/>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052064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69108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09224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tx2"/>
                    </a:gs>
                    <a:gs pos="100000">
                      <a:schemeClr val="tx2"/>
                    </a:gs>
                  </a:gsLst>
                  <a:lin ang="5400000" scaled="1"/>
                </a:gra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4308456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40532115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42298323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5874751"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5874751"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25" name="Picture 24">
            <a:extLst>
              <a:ext uri="{FF2B5EF4-FFF2-40B4-BE49-F238E27FC236}">
                <a16:creationId xmlns:a16="http://schemas.microsoft.com/office/drawing/2014/main" id="{DD6F765C-BA87-4024-A0EA-D44C275128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28" name="Picture Placeholder 27">
            <a:extLst>
              <a:ext uri="{FF2B5EF4-FFF2-40B4-BE49-F238E27FC236}">
                <a16:creationId xmlns:a16="http://schemas.microsoft.com/office/drawing/2014/main" id="{F115ABEF-D43C-4943-82B6-BC159FC73908}"/>
              </a:ext>
            </a:extLst>
          </p:cNvPr>
          <p:cNvSpPr>
            <a:spLocks noGrp="1"/>
          </p:cNvSpPr>
          <p:nvPr>
            <p:ph type="pic" sz="quarter" idx="16"/>
          </p:nvPr>
        </p:nvSpPr>
        <p:spPr>
          <a:xfrm>
            <a:off x="6161365" y="793822"/>
            <a:ext cx="2096326" cy="1618774"/>
          </a:xfrm>
          <a:solidFill>
            <a:schemeClr val="tx2"/>
          </a:solidFill>
        </p:spPr>
        <p:txBody>
          <a:bodyPr anchor="b" anchorCtr="1">
            <a:noAutofit/>
          </a:bodyPr>
          <a:lstStyle/>
          <a:p>
            <a:endParaRPr lang="en-US"/>
          </a:p>
        </p:txBody>
      </p:sp>
      <p:sp>
        <p:nvSpPr>
          <p:cNvPr id="29" name="Picture Placeholder 27">
            <a:extLst>
              <a:ext uri="{FF2B5EF4-FFF2-40B4-BE49-F238E27FC236}">
                <a16:creationId xmlns:a16="http://schemas.microsoft.com/office/drawing/2014/main" id="{AA47FD53-1E53-4FDE-94A4-B6A5469787D2}"/>
              </a:ext>
            </a:extLst>
          </p:cNvPr>
          <p:cNvSpPr>
            <a:spLocks noGrp="1"/>
          </p:cNvSpPr>
          <p:nvPr>
            <p:ph type="pic" sz="quarter" idx="17"/>
          </p:nvPr>
        </p:nvSpPr>
        <p:spPr>
          <a:xfrm>
            <a:off x="8472758" y="793822"/>
            <a:ext cx="2096326" cy="1618774"/>
          </a:xfrm>
          <a:solidFill>
            <a:schemeClr val="tx2"/>
          </a:solidFill>
        </p:spPr>
        <p:txBody>
          <a:bodyPr anchor="b" anchorCtr="1">
            <a:noAutofit/>
          </a:bodyPr>
          <a:lstStyle/>
          <a:p>
            <a:endParaRPr lang="en-US"/>
          </a:p>
        </p:txBody>
      </p:sp>
      <p:sp>
        <p:nvSpPr>
          <p:cNvPr id="30" name="Picture Placeholder 27">
            <a:extLst>
              <a:ext uri="{FF2B5EF4-FFF2-40B4-BE49-F238E27FC236}">
                <a16:creationId xmlns:a16="http://schemas.microsoft.com/office/drawing/2014/main" id="{E251C08D-157D-49F9-81E7-B96806AE1099}"/>
              </a:ext>
            </a:extLst>
          </p:cNvPr>
          <p:cNvSpPr>
            <a:spLocks noGrp="1"/>
          </p:cNvSpPr>
          <p:nvPr>
            <p:ph type="pic" sz="quarter" idx="18"/>
          </p:nvPr>
        </p:nvSpPr>
        <p:spPr>
          <a:xfrm>
            <a:off x="7203560" y="4460417"/>
            <a:ext cx="2096326" cy="1618774"/>
          </a:xfrm>
          <a:solidFill>
            <a:schemeClr val="tx2"/>
          </a:solidFill>
        </p:spPr>
        <p:txBody>
          <a:bodyPr anchor="b" anchorCtr="1">
            <a:noAutofit/>
          </a:bodyPr>
          <a:lstStyle/>
          <a:p>
            <a:endParaRPr lang="en-US"/>
          </a:p>
        </p:txBody>
      </p:sp>
      <p:sp>
        <p:nvSpPr>
          <p:cNvPr id="31" name="Picture Placeholder 27">
            <a:extLst>
              <a:ext uri="{FF2B5EF4-FFF2-40B4-BE49-F238E27FC236}">
                <a16:creationId xmlns:a16="http://schemas.microsoft.com/office/drawing/2014/main" id="{72A7D44E-978B-43E5-9BC0-A9F9EE7738C9}"/>
              </a:ext>
            </a:extLst>
          </p:cNvPr>
          <p:cNvSpPr>
            <a:spLocks noGrp="1"/>
          </p:cNvSpPr>
          <p:nvPr>
            <p:ph type="pic" sz="quarter" idx="19"/>
          </p:nvPr>
        </p:nvSpPr>
        <p:spPr>
          <a:xfrm>
            <a:off x="9514953" y="4460417"/>
            <a:ext cx="2096326" cy="1618774"/>
          </a:xfrm>
          <a:solidFill>
            <a:schemeClr val="tx2"/>
          </a:solidFill>
        </p:spPr>
        <p:txBody>
          <a:bodyPr anchor="b" anchorCtr="1">
            <a:noAutofit/>
          </a:bodyPr>
          <a:lstStyle/>
          <a:p>
            <a:endParaRPr lang="en-US"/>
          </a:p>
        </p:txBody>
      </p:sp>
      <p:sp>
        <p:nvSpPr>
          <p:cNvPr id="32" name="Picture Placeholder 27">
            <a:extLst>
              <a:ext uri="{FF2B5EF4-FFF2-40B4-BE49-F238E27FC236}">
                <a16:creationId xmlns:a16="http://schemas.microsoft.com/office/drawing/2014/main" id="{FFC800EB-936E-4743-B0BB-27566A34C2D7}"/>
              </a:ext>
            </a:extLst>
          </p:cNvPr>
          <p:cNvSpPr>
            <a:spLocks noGrp="1"/>
          </p:cNvSpPr>
          <p:nvPr>
            <p:ph type="pic" sz="quarter" idx="20"/>
          </p:nvPr>
        </p:nvSpPr>
        <p:spPr>
          <a:xfrm>
            <a:off x="5776786" y="2611744"/>
            <a:ext cx="2096326" cy="1618774"/>
          </a:xfrm>
          <a:solidFill>
            <a:schemeClr val="tx2"/>
          </a:solidFill>
        </p:spPr>
        <p:txBody>
          <a:bodyPr anchor="b" anchorCtr="1">
            <a:noAutofit/>
          </a:bodyPr>
          <a:lstStyle/>
          <a:p>
            <a:endParaRPr lang="en-US"/>
          </a:p>
        </p:txBody>
      </p:sp>
      <p:sp>
        <p:nvSpPr>
          <p:cNvPr id="33" name="Picture Placeholder 27">
            <a:extLst>
              <a:ext uri="{FF2B5EF4-FFF2-40B4-BE49-F238E27FC236}">
                <a16:creationId xmlns:a16="http://schemas.microsoft.com/office/drawing/2014/main" id="{9F092611-3E78-46B1-BA8A-97F767E93167}"/>
              </a:ext>
            </a:extLst>
          </p:cNvPr>
          <p:cNvSpPr>
            <a:spLocks noGrp="1"/>
          </p:cNvSpPr>
          <p:nvPr>
            <p:ph type="pic" sz="quarter" idx="21"/>
          </p:nvPr>
        </p:nvSpPr>
        <p:spPr>
          <a:xfrm>
            <a:off x="8061123" y="2611744"/>
            <a:ext cx="2096326" cy="1618774"/>
          </a:xfrm>
          <a:solidFill>
            <a:schemeClr val="tx2"/>
          </a:solidFill>
        </p:spPr>
        <p:txBody>
          <a:bodyPr anchor="b" anchorCtr="1">
            <a:noAutofit/>
          </a:bodyPr>
          <a:lstStyle/>
          <a:p>
            <a:endParaRPr lang="en-US"/>
          </a:p>
        </p:txBody>
      </p:sp>
      <p:sp>
        <p:nvSpPr>
          <p:cNvPr id="34" name="Picture Placeholder 27">
            <a:extLst>
              <a:ext uri="{FF2B5EF4-FFF2-40B4-BE49-F238E27FC236}">
                <a16:creationId xmlns:a16="http://schemas.microsoft.com/office/drawing/2014/main" id="{CFCBDAA1-18C9-4D7C-B4F2-F169EEF5C655}"/>
              </a:ext>
            </a:extLst>
          </p:cNvPr>
          <p:cNvSpPr>
            <a:spLocks noGrp="1"/>
          </p:cNvSpPr>
          <p:nvPr>
            <p:ph type="pic" sz="quarter" idx="22"/>
          </p:nvPr>
        </p:nvSpPr>
        <p:spPr>
          <a:xfrm>
            <a:off x="10345460" y="2611744"/>
            <a:ext cx="2096326" cy="1618774"/>
          </a:xfrm>
          <a:solidFill>
            <a:schemeClr val="tx2"/>
          </a:solidFill>
        </p:spPr>
        <p:txBody>
          <a:bodyPr anchor="b" anchorCtr="1">
            <a:noAutofit/>
          </a:bodyPr>
          <a:lstStyle/>
          <a:p>
            <a:endParaRPr lang="en-US"/>
          </a:p>
        </p:txBody>
      </p:sp>
    </p:spTree>
    <p:extLst>
      <p:ext uri="{BB962C8B-B14F-4D97-AF65-F5344CB8AC3E}">
        <p14:creationId xmlns:p14="http://schemas.microsoft.com/office/powerpoint/2010/main" val="2284351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750"/>
                                        <p:tgtEl>
                                          <p:spTgt spid="28"/>
                                        </p:tgtEl>
                                      </p:cBhvr>
                                    </p:animEffect>
                                  </p:childTnLst>
                                </p:cTn>
                              </p:par>
                              <p:par>
                                <p:cTn id="8" presetID="42" presetClass="path" presetSubtype="0" decel="100000" fill="hold" grpId="1" nodeType="withEffect">
                                  <p:stCondLst>
                                    <p:cond delay="50"/>
                                  </p:stCondLst>
                                  <p:childTnLst>
                                    <p:animMotion origin="layout" path="M 1.17182E-6 -2.12892E-6 L 0.04353 -2.12892E-6 " pathEditMode="relative" rAng="0" ptsTypes="AA">
                                      <p:cBhvr>
                                        <p:cTn id="9" dur="750" spd="-100000" fill="hold"/>
                                        <p:tgtEl>
                                          <p:spTgt spid="28"/>
                                        </p:tgtEl>
                                        <p:attrNameLst>
                                          <p:attrName>ppt_x</p:attrName>
                                          <p:attrName>ppt_y</p:attrName>
                                        </p:attrNameLst>
                                      </p:cBhvr>
                                      <p:rCtr x="2170" y="0"/>
                                    </p:animMotion>
                                  </p:childTnLst>
                                </p:cTn>
                              </p:par>
                              <p:par>
                                <p:cTn id="10" presetID="10" presetClass="entr" presetSubtype="0" fill="hold" grpId="0" nodeType="withEffect">
                                  <p:stCondLst>
                                    <p:cond delay="15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750"/>
                                        <p:tgtEl>
                                          <p:spTgt spid="29"/>
                                        </p:tgtEl>
                                      </p:cBhvr>
                                    </p:animEffect>
                                  </p:childTnLst>
                                </p:cTn>
                              </p:par>
                              <p:par>
                                <p:cTn id="13" presetID="42" presetClass="path" presetSubtype="0" decel="100000" fill="hold" grpId="1" nodeType="withEffect">
                                  <p:stCondLst>
                                    <p:cond delay="150"/>
                                  </p:stCondLst>
                                  <p:childTnLst>
                                    <p:animMotion origin="layout" path="M 1.17182E-6 -2.12892E-6 L 0.04353 -2.12892E-6 " pathEditMode="relative" rAng="0" ptsTypes="AA">
                                      <p:cBhvr>
                                        <p:cTn id="14" dur="750" spd="-100000" fill="hold"/>
                                        <p:tgtEl>
                                          <p:spTgt spid="29"/>
                                        </p:tgtEl>
                                        <p:attrNameLst>
                                          <p:attrName>ppt_x</p:attrName>
                                          <p:attrName>ppt_y</p:attrName>
                                        </p:attrNameLst>
                                      </p:cBhvr>
                                      <p:rCtr x="2170" y="0"/>
                                    </p:animMotion>
                                  </p:childTnLst>
                                </p:cTn>
                              </p:par>
                              <p:par>
                                <p:cTn id="15" presetID="10"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750"/>
                                        <p:tgtEl>
                                          <p:spTgt spid="32"/>
                                        </p:tgtEl>
                                      </p:cBhvr>
                                    </p:animEffect>
                                  </p:childTnLst>
                                </p:cTn>
                              </p:par>
                              <p:par>
                                <p:cTn id="18" presetID="42" presetClass="path" presetSubtype="0" decel="100000" fill="hold" grpId="1" nodeType="withEffect">
                                  <p:stCondLst>
                                    <p:cond delay="0"/>
                                  </p:stCondLst>
                                  <p:childTnLst>
                                    <p:animMotion origin="layout" path="M 1.17182E-6 -2.12892E-6 L 0.04353 -2.12892E-6 " pathEditMode="relative" rAng="0" ptsTypes="AA">
                                      <p:cBhvr>
                                        <p:cTn id="19" dur="750" spd="-100000" fill="hold"/>
                                        <p:tgtEl>
                                          <p:spTgt spid="32"/>
                                        </p:tgtEl>
                                        <p:attrNameLst>
                                          <p:attrName>ppt_x</p:attrName>
                                          <p:attrName>ppt_y</p:attrName>
                                        </p:attrNameLst>
                                      </p:cBhvr>
                                      <p:rCtr x="2170" y="0"/>
                                    </p:animMotion>
                                  </p:childTnLst>
                                </p:cTn>
                              </p:par>
                              <p:par>
                                <p:cTn id="20" presetID="10" presetClass="entr" presetSubtype="0" fill="hold" grpId="0" nodeType="withEffect">
                                  <p:stCondLst>
                                    <p:cond delay="15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750"/>
                                        <p:tgtEl>
                                          <p:spTgt spid="33"/>
                                        </p:tgtEl>
                                      </p:cBhvr>
                                    </p:animEffect>
                                  </p:childTnLst>
                                </p:cTn>
                              </p:par>
                              <p:par>
                                <p:cTn id="23" presetID="42" presetClass="path" presetSubtype="0" decel="100000" fill="hold" grpId="1" nodeType="withEffect">
                                  <p:stCondLst>
                                    <p:cond delay="150"/>
                                  </p:stCondLst>
                                  <p:childTnLst>
                                    <p:animMotion origin="layout" path="M 1.17182E-6 -2.12892E-6 L 0.04353 -2.12892E-6 " pathEditMode="relative" rAng="0" ptsTypes="AA">
                                      <p:cBhvr>
                                        <p:cTn id="24" dur="750" spd="-100000" fill="hold"/>
                                        <p:tgtEl>
                                          <p:spTgt spid="33"/>
                                        </p:tgtEl>
                                        <p:attrNameLst>
                                          <p:attrName>ppt_x</p:attrName>
                                          <p:attrName>ppt_y</p:attrName>
                                        </p:attrNameLst>
                                      </p:cBhvr>
                                      <p:rCtr x="2170" y="0"/>
                                    </p:animMotion>
                                  </p:childTnLst>
                                </p:cTn>
                              </p:par>
                              <p:par>
                                <p:cTn id="25" presetID="10" presetClass="entr" presetSubtype="0" fill="hold" grpId="0" nodeType="withEffect">
                                  <p:stCondLst>
                                    <p:cond delay="25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750"/>
                                        <p:tgtEl>
                                          <p:spTgt spid="34"/>
                                        </p:tgtEl>
                                      </p:cBhvr>
                                    </p:animEffect>
                                  </p:childTnLst>
                                </p:cTn>
                              </p:par>
                              <p:par>
                                <p:cTn id="28" presetID="42" presetClass="path" presetSubtype="0" decel="100000" fill="hold" grpId="1" nodeType="withEffect">
                                  <p:stCondLst>
                                    <p:cond delay="250"/>
                                  </p:stCondLst>
                                  <p:childTnLst>
                                    <p:animMotion origin="layout" path="M 1.17182E-6 -2.12892E-6 L 0.04353 -2.12892E-6 " pathEditMode="relative" rAng="0" ptsTypes="AA">
                                      <p:cBhvr>
                                        <p:cTn id="29" dur="750" spd="-100000" fill="hold"/>
                                        <p:tgtEl>
                                          <p:spTgt spid="34"/>
                                        </p:tgtEl>
                                        <p:attrNameLst>
                                          <p:attrName>ppt_x</p:attrName>
                                          <p:attrName>ppt_y</p:attrName>
                                        </p:attrNameLst>
                                      </p:cBhvr>
                                      <p:rCtr x="2170" y="0"/>
                                    </p:animMotion>
                                  </p:childTnLst>
                                </p:cTn>
                              </p:par>
                              <p:par>
                                <p:cTn id="30" presetID="10" presetClass="entr" presetSubtype="0" fill="hold" grpId="0" nodeType="withEffect">
                                  <p:stCondLst>
                                    <p:cond delay="5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750"/>
                                        <p:tgtEl>
                                          <p:spTgt spid="30"/>
                                        </p:tgtEl>
                                      </p:cBhvr>
                                    </p:animEffect>
                                  </p:childTnLst>
                                </p:cTn>
                              </p:par>
                              <p:par>
                                <p:cTn id="33" presetID="42" presetClass="path" presetSubtype="0" decel="100000" fill="hold" grpId="1" nodeType="withEffect">
                                  <p:stCondLst>
                                    <p:cond delay="50"/>
                                  </p:stCondLst>
                                  <p:childTnLst>
                                    <p:animMotion origin="layout" path="M 1.17182E-6 -2.12892E-6 L 0.04353 -2.12892E-6 " pathEditMode="relative" rAng="0" ptsTypes="AA">
                                      <p:cBhvr>
                                        <p:cTn id="34" dur="750" spd="-100000" fill="hold"/>
                                        <p:tgtEl>
                                          <p:spTgt spid="30"/>
                                        </p:tgtEl>
                                        <p:attrNameLst>
                                          <p:attrName>ppt_x</p:attrName>
                                          <p:attrName>ppt_y</p:attrName>
                                        </p:attrNameLst>
                                      </p:cBhvr>
                                      <p:rCtr x="2170" y="0"/>
                                    </p:animMotion>
                                  </p:childTnLst>
                                </p:cTn>
                              </p:par>
                              <p:par>
                                <p:cTn id="35" presetID="10" presetClass="entr" presetSubtype="0" fill="hold" grpId="0" nodeType="withEffect">
                                  <p:stCondLst>
                                    <p:cond delay="15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750"/>
                                        <p:tgtEl>
                                          <p:spTgt spid="31"/>
                                        </p:tgtEl>
                                      </p:cBhvr>
                                    </p:animEffect>
                                  </p:childTnLst>
                                </p:cTn>
                              </p:par>
                              <p:par>
                                <p:cTn id="38" presetID="42" presetClass="path" presetSubtype="0" decel="100000" fill="hold" grpId="1" nodeType="withEffect">
                                  <p:stCondLst>
                                    <p:cond delay="150"/>
                                  </p:stCondLst>
                                  <p:childTnLst>
                                    <p:animMotion origin="layout" path="M 1.17182E-6 -2.12892E-6 L 0.04353 -2.12892E-6 " pathEditMode="relative" rAng="0" ptsTypes="AA">
                                      <p:cBhvr>
                                        <p:cTn id="39" dur="750" spd="-100000" fill="hold"/>
                                        <p:tgtEl>
                                          <p:spTgt spid="31"/>
                                        </p:tgtEl>
                                        <p:attrNameLst>
                                          <p:attrName>ppt_x</p:attrName>
                                          <p:attrName>ppt_y</p:attrName>
                                        </p:attrNameLst>
                                      </p:cBhvr>
                                      <p:rCtr x="21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gradFill>
                  <a:gsLst>
                    <a:gs pos="0">
                      <a:schemeClr val="tx1"/>
                    </a:gs>
                    <a:gs pos="100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75710899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96746649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2310611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1209402464"/>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itle Slide 6">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06666B8-50C7-4992-A344-31FE42F94A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9" name="Picture 8">
            <a:extLst>
              <a:ext uri="{FF2B5EF4-FFF2-40B4-BE49-F238E27FC236}">
                <a16:creationId xmlns:a16="http://schemas.microsoft.com/office/drawing/2014/main" id="{8CCD8A32-672C-450E-BF26-7AF0C2F883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Tree>
    <p:extLst>
      <p:ext uri="{BB962C8B-B14F-4D97-AF65-F5344CB8AC3E}">
        <p14:creationId xmlns:p14="http://schemas.microsoft.com/office/powerpoint/2010/main" val="1211135252"/>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96527696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352154284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12140146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gradFill>
                  <a:gsLst>
                    <a:gs pos="0">
                      <a:schemeClr val="tx1"/>
                    </a:gs>
                    <a:gs pos="100000">
                      <a:schemeClr val="tx1"/>
                    </a:gs>
                  </a:gsLst>
                  <a:lin ang="5400000" scaled="1"/>
                </a:gra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gradFill>
                  <a:gsLst>
                    <a:gs pos="0">
                      <a:schemeClr val="tx2"/>
                    </a:gs>
                    <a:gs pos="100000">
                      <a:schemeClr val="tx2"/>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gradFill>
                  <a:gsLst>
                    <a:gs pos="0">
                      <a:schemeClr val="tx1"/>
                    </a:gs>
                    <a:gs pos="100000">
                      <a:schemeClr val="tx1"/>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1907944811"/>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gradFill>
                  <a:gsLst>
                    <a:gs pos="0">
                      <a:schemeClr val="tx1"/>
                    </a:gs>
                    <a:gs pos="100000">
                      <a:schemeClr val="tx1"/>
                    </a:gs>
                  </a:gsLst>
                  <a:lin ang="5400000" scaled="1"/>
                </a:gra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gradFill>
                  <a:gsLst>
                    <a:gs pos="0">
                      <a:schemeClr val="tx2"/>
                    </a:gs>
                    <a:gs pos="100000">
                      <a:schemeClr val="tx2"/>
                    </a:gs>
                  </a:gsLst>
                  <a:lin ang="5400000" scaled="1"/>
                </a:gra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gradFill>
                  <a:gsLst>
                    <a:gs pos="0">
                      <a:schemeClr val="tx1"/>
                    </a:gs>
                    <a:gs pos="100000">
                      <a:schemeClr val="tx1"/>
                    </a:gs>
                  </a:gsLst>
                  <a:lin ang="5400000" scaled="1"/>
                </a:gra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66732858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gradFill>
                  <a:gsLst>
                    <a:gs pos="0">
                      <a:schemeClr val="tx1"/>
                    </a:gs>
                    <a:gs pos="100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6367491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gradFill>
                  <a:gsLst>
                    <a:gs pos="0">
                      <a:schemeClr val="tx1"/>
                    </a:gs>
                    <a:gs pos="100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138491107"/>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2: two columns copy heavy</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8" name="Text Placeholder 4">
            <a:extLst>
              <a:ext uri="{FF2B5EF4-FFF2-40B4-BE49-F238E27FC236}">
                <a16:creationId xmlns:a16="http://schemas.microsoft.com/office/drawing/2014/main" id="{CCC8691F-DADE-4D0A-8115-9B3B796034E0}"/>
              </a:ext>
            </a:extLst>
          </p:cNvPr>
          <p:cNvSpPr>
            <a:spLocks noGrp="1"/>
          </p:cNvSpPr>
          <p:nvPr>
            <p:ph type="body" sz="quarter" idx="11" hasCustomPrompt="1"/>
          </p:nvPr>
        </p:nvSpPr>
        <p:spPr>
          <a:xfrm>
            <a:off x="455995" y="2377543"/>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9" name="Text Placeholder 4">
            <a:extLst>
              <a:ext uri="{FF2B5EF4-FFF2-40B4-BE49-F238E27FC236}">
                <a16:creationId xmlns:a16="http://schemas.microsoft.com/office/drawing/2014/main" id="{AD57A03F-09DB-4FBF-A5BF-1DE6B7FC0CB5}"/>
              </a:ext>
            </a:extLst>
          </p:cNvPr>
          <p:cNvSpPr>
            <a:spLocks noGrp="1"/>
          </p:cNvSpPr>
          <p:nvPr>
            <p:ph type="body" sz="quarter" idx="19" hasCustomPrompt="1"/>
          </p:nvPr>
        </p:nvSpPr>
        <p:spPr>
          <a:xfrm>
            <a:off x="4286808" y="2377543"/>
            <a:ext cx="3618381" cy="216206"/>
          </a:xfrm>
          <a:prstGeom prst="rect">
            <a:avLst/>
          </a:prstGeom>
        </p:spPr>
        <p:txBody>
          <a:bodyPr lIns="0" tIns="0" rIns="0" bIns="0"/>
          <a:lstStyle>
            <a:lvl1pPr marL="0" indent="0">
              <a:lnSpc>
                <a:spcPts val="1765"/>
              </a:lnSpc>
              <a:spcBef>
                <a:spcPts val="0"/>
              </a:spcBef>
              <a:spcAft>
                <a:spcPts val="588"/>
              </a:spcAft>
              <a:buNone/>
              <a:defRPr sz="1372" b="0" spc="0" baseline="0">
                <a:gradFill>
                  <a:gsLst>
                    <a:gs pos="0">
                      <a:schemeClr val="tx2"/>
                    </a:gs>
                    <a:gs pos="100000">
                      <a:schemeClr val="tx2"/>
                    </a:gs>
                  </a:gsLst>
                  <a:lin ang="5400000" scaled="1"/>
                </a:gra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Tree>
    <p:extLst>
      <p:ext uri="{BB962C8B-B14F-4D97-AF65-F5344CB8AC3E}">
        <p14:creationId xmlns:p14="http://schemas.microsoft.com/office/powerpoint/2010/main" val="2744803069"/>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74941343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gradFill>
                  <a:gsLst>
                    <a:gs pos="0">
                      <a:schemeClr val="tx1"/>
                    </a:gs>
                    <a:gs pos="100000">
                      <a:schemeClr val="tx1"/>
                    </a:gs>
                  </a:gsLst>
                  <a:lin ang="5400000" scaled="1"/>
                </a:gradFill>
              </a:defRPr>
            </a:lvl1pPr>
          </a:lstStyle>
          <a:p>
            <a:r>
              <a:rPr lang="en-US"/>
              <a:t>Title</a:t>
            </a:r>
          </a:p>
        </p:txBody>
      </p:sp>
    </p:spTree>
    <p:extLst>
      <p:ext uri="{BB962C8B-B14F-4D97-AF65-F5344CB8AC3E}">
        <p14:creationId xmlns:p14="http://schemas.microsoft.com/office/powerpoint/2010/main" val="1355527963"/>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803547071"/>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69180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gradFill>
                  <a:gsLst>
                    <a:gs pos="0">
                      <a:schemeClr val="tx1"/>
                    </a:gs>
                    <a:gs pos="100000">
                      <a:schemeClr val="tx1"/>
                    </a:gs>
                  </a:gsLst>
                  <a:lin ang="5400000" scaled="1"/>
                </a:gra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88947930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83299266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5139809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gradFill>
                  <a:gsLst>
                    <a:gs pos="0">
                      <a:schemeClr val="tx1"/>
                    </a:gs>
                    <a:gs pos="100000">
                      <a:schemeClr val="tx1"/>
                    </a:gs>
                  </a:gsLst>
                  <a:lin ang="5400000" scaled="1"/>
                </a:gra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gradFill>
                  <a:gsLst>
                    <a:gs pos="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gradFill>
                  <a:gsLst>
                    <a:gs pos="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16710838"/>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able styling</a:t>
            </a:r>
          </a:p>
        </p:txBody>
      </p:sp>
      <p:sp>
        <p:nvSpPr>
          <p:cNvPr id="4" name="Table Placeholder 3"/>
          <p:cNvSpPr>
            <a:spLocks noGrp="1"/>
          </p:cNvSpPr>
          <p:nvPr>
            <p:ph type="tbl" sz="quarter" idx="10"/>
          </p:nvPr>
        </p:nvSpPr>
        <p:spPr>
          <a:xfrm>
            <a:off x="455995" y="2158885"/>
            <a:ext cx="11306469" cy="4078687"/>
          </a:xfrm>
          <a:prstGeom prst="rect">
            <a:avLst/>
          </a:prstGeom>
        </p:spPr>
        <p:txBody>
          <a:bodyPr anchor="ctr" anchorCtr="0">
            <a:noAutofit/>
          </a:bodyPr>
          <a:lstStyle>
            <a:lvl1pPr algn="ctr">
              <a:defRPr>
                <a:gradFill>
                  <a:gsLst>
                    <a:gs pos="0">
                      <a:schemeClr val="tx1"/>
                    </a:gs>
                    <a:gs pos="100000">
                      <a:schemeClr val="tx1"/>
                    </a:gs>
                  </a:gsLst>
                  <a:lin ang="5400000" scaled="1"/>
                </a:gradFill>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85696569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33372711"/>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gradFill>
                  <a:gsLst>
                    <a:gs pos="0">
                      <a:schemeClr val="bg1"/>
                    </a:gs>
                    <a:gs pos="100000">
                      <a:schemeClr val="bg1"/>
                    </a:gs>
                  </a:gsLst>
                  <a:lin ang="5400000" scaled="1"/>
                </a:gra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bg1"/>
                    </a:gs>
                    <a:gs pos="100000">
                      <a:schemeClr val="bg1"/>
                    </a:gs>
                  </a:gsLst>
                  <a:lin ang="5400000" scaled="1"/>
                </a:gradFill>
                <a:cs typeface="Segoe UI" pitchFamily="34" charset="0"/>
              </a:rPr>
              <a:t>© Copyright Microsoft Corporation. All rights reserved. </a:t>
            </a:r>
          </a:p>
        </p:txBody>
      </p:sp>
    </p:spTree>
    <p:extLst>
      <p:ext uri="{BB962C8B-B14F-4D97-AF65-F5344CB8AC3E}">
        <p14:creationId xmlns:p14="http://schemas.microsoft.com/office/powerpoint/2010/main" val="157455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gradFill>
                  <a:gsLst>
                    <a:gs pos="0">
                      <a:schemeClr val="bg1"/>
                    </a:gs>
                    <a:gs pos="100000">
                      <a:schemeClr val="bg1"/>
                    </a:gs>
                  </a:gsLst>
                  <a:lin ang="5400000" scaled="1"/>
                </a:gra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bg1"/>
                    </a:gs>
                    <a:gs pos="100000">
                      <a:schemeClr val="bg1"/>
                    </a:gs>
                  </a:gsLst>
                  <a:lin ang="5400000" scaled="1"/>
                </a:gra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7" name="Picture Placeholder 27">
            <a:extLst>
              <a:ext uri="{FF2B5EF4-FFF2-40B4-BE49-F238E27FC236}">
                <a16:creationId xmlns:a16="http://schemas.microsoft.com/office/drawing/2014/main" id="{5496F88C-A399-48D0-ABC4-07E2F5BAD158}"/>
              </a:ext>
            </a:extLst>
          </p:cNvPr>
          <p:cNvSpPr>
            <a:spLocks noGrp="1"/>
          </p:cNvSpPr>
          <p:nvPr>
            <p:ph type="pic" sz="quarter" idx="16"/>
          </p:nvPr>
        </p:nvSpPr>
        <p:spPr>
          <a:xfrm>
            <a:off x="6161365" y="793822"/>
            <a:ext cx="2096326" cy="1618774"/>
          </a:xfrm>
          <a:solidFill>
            <a:schemeClr val="tx2"/>
          </a:solidFill>
        </p:spPr>
        <p:txBody>
          <a:bodyPr anchor="b" anchorCtr="1">
            <a:noAutofit/>
          </a:bodyPr>
          <a:lstStyle/>
          <a:p>
            <a:endParaRPr lang="en-US"/>
          </a:p>
        </p:txBody>
      </p:sp>
      <p:sp>
        <p:nvSpPr>
          <p:cNvPr id="8" name="Picture Placeholder 27">
            <a:extLst>
              <a:ext uri="{FF2B5EF4-FFF2-40B4-BE49-F238E27FC236}">
                <a16:creationId xmlns:a16="http://schemas.microsoft.com/office/drawing/2014/main" id="{0C21610F-709F-4799-BDC8-F5E07C8E7532}"/>
              </a:ext>
            </a:extLst>
          </p:cNvPr>
          <p:cNvSpPr>
            <a:spLocks noGrp="1"/>
          </p:cNvSpPr>
          <p:nvPr>
            <p:ph type="pic" sz="quarter" idx="17"/>
          </p:nvPr>
        </p:nvSpPr>
        <p:spPr>
          <a:xfrm>
            <a:off x="8472758" y="793822"/>
            <a:ext cx="2096326" cy="1618774"/>
          </a:xfrm>
          <a:solidFill>
            <a:schemeClr val="tx2"/>
          </a:solidFill>
        </p:spPr>
        <p:txBody>
          <a:bodyPr anchor="b" anchorCtr="1">
            <a:noAutofit/>
          </a:bodyPr>
          <a:lstStyle/>
          <a:p>
            <a:endParaRPr lang="en-US"/>
          </a:p>
        </p:txBody>
      </p:sp>
      <p:sp>
        <p:nvSpPr>
          <p:cNvPr id="10" name="Picture Placeholder 27">
            <a:extLst>
              <a:ext uri="{FF2B5EF4-FFF2-40B4-BE49-F238E27FC236}">
                <a16:creationId xmlns:a16="http://schemas.microsoft.com/office/drawing/2014/main" id="{D45E4476-7B91-4BF1-BEE6-AA780631C750}"/>
              </a:ext>
            </a:extLst>
          </p:cNvPr>
          <p:cNvSpPr>
            <a:spLocks noGrp="1"/>
          </p:cNvSpPr>
          <p:nvPr>
            <p:ph type="pic" sz="quarter" idx="18"/>
          </p:nvPr>
        </p:nvSpPr>
        <p:spPr>
          <a:xfrm>
            <a:off x="7203560" y="4460417"/>
            <a:ext cx="2096326" cy="1618774"/>
          </a:xfrm>
          <a:solidFill>
            <a:schemeClr val="tx2"/>
          </a:solidFill>
        </p:spPr>
        <p:txBody>
          <a:bodyPr anchor="b" anchorCtr="1">
            <a:noAutofit/>
          </a:bodyPr>
          <a:lstStyle/>
          <a:p>
            <a:endParaRPr lang="en-US"/>
          </a:p>
        </p:txBody>
      </p:sp>
      <p:sp>
        <p:nvSpPr>
          <p:cNvPr id="11" name="Picture Placeholder 27">
            <a:extLst>
              <a:ext uri="{FF2B5EF4-FFF2-40B4-BE49-F238E27FC236}">
                <a16:creationId xmlns:a16="http://schemas.microsoft.com/office/drawing/2014/main" id="{5AC165B8-0458-4204-A626-058362AA6257}"/>
              </a:ext>
            </a:extLst>
          </p:cNvPr>
          <p:cNvSpPr>
            <a:spLocks noGrp="1"/>
          </p:cNvSpPr>
          <p:nvPr>
            <p:ph type="pic" sz="quarter" idx="19"/>
          </p:nvPr>
        </p:nvSpPr>
        <p:spPr>
          <a:xfrm>
            <a:off x="9514953" y="4460417"/>
            <a:ext cx="2096326" cy="1618774"/>
          </a:xfrm>
          <a:solidFill>
            <a:schemeClr val="tx2"/>
          </a:solidFill>
        </p:spPr>
        <p:txBody>
          <a:bodyPr anchor="b" anchorCtr="1">
            <a:noAutofit/>
          </a:bodyPr>
          <a:lstStyle/>
          <a:p>
            <a:endParaRPr lang="en-US"/>
          </a:p>
        </p:txBody>
      </p:sp>
      <p:sp>
        <p:nvSpPr>
          <p:cNvPr id="12" name="Picture Placeholder 27">
            <a:extLst>
              <a:ext uri="{FF2B5EF4-FFF2-40B4-BE49-F238E27FC236}">
                <a16:creationId xmlns:a16="http://schemas.microsoft.com/office/drawing/2014/main" id="{1221D2EB-E466-48FD-BA3C-CBCAA9CB7AF3}"/>
              </a:ext>
            </a:extLst>
          </p:cNvPr>
          <p:cNvSpPr>
            <a:spLocks noGrp="1"/>
          </p:cNvSpPr>
          <p:nvPr>
            <p:ph type="pic" sz="quarter" idx="20"/>
          </p:nvPr>
        </p:nvSpPr>
        <p:spPr>
          <a:xfrm>
            <a:off x="5776786" y="2611744"/>
            <a:ext cx="2096326" cy="1618774"/>
          </a:xfrm>
          <a:solidFill>
            <a:schemeClr val="tx2"/>
          </a:solidFill>
        </p:spPr>
        <p:txBody>
          <a:bodyPr anchor="b" anchorCtr="1">
            <a:noAutofit/>
          </a:bodyPr>
          <a:lstStyle/>
          <a:p>
            <a:endParaRPr lang="en-US"/>
          </a:p>
        </p:txBody>
      </p:sp>
      <p:sp>
        <p:nvSpPr>
          <p:cNvPr id="13" name="Picture Placeholder 27">
            <a:extLst>
              <a:ext uri="{FF2B5EF4-FFF2-40B4-BE49-F238E27FC236}">
                <a16:creationId xmlns:a16="http://schemas.microsoft.com/office/drawing/2014/main" id="{D1ABACC9-8C8F-4BA1-B371-EF3BFD1A8D8E}"/>
              </a:ext>
            </a:extLst>
          </p:cNvPr>
          <p:cNvSpPr>
            <a:spLocks noGrp="1"/>
          </p:cNvSpPr>
          <p:nvPr>
            <p:ph type="pic" sz="quarter" idx="21"/>
          </p:nvPr>
        </p:nvSpPr>
        <p:spPr>
          <a:xfrm>
            <a:off x="8061123" y="2611744"/>
            <a:ext cx="2096326" cy="1618774"/>
          </a:xfrm>
          <a:solidFill>
            <a:schemeClr val="tx2"/>
          </a:solidFill>
        </p:spPr>
        <p:txBody>
          <a:bodyPr anchor="b" anchorCtr="1">
            <a:noAutofit/>
          </a:bodyPr>
          <a:lstStyle/>
          <a:p>
            <a:endParaRPr lang="en-US"/>
          </a:p>
        </p:txBody>
      </p:sp>
      <p:sp>
        <p:nvSpPr>
          <p:cNvPr id="14" name="Picture Placeholder 27">
            <a:extLst>
              <a:ext uri="{FF2B5EF4-FFF2-40B4-BE49-F238E27FC236}">
                <a16:creationId xmlns:a16="http://schemas.microsoft.com/office/drawing/2014/main" id="{7675766E-F1E6-47EC-A787-5D8F033D48B4}"/>
              </a:ext>
            </a:extLst>
          </p:cNvPr>
          <p:cNvSpPr>
            <a:spLocks noGrp="1"/>
          </p:cNvSpPr>
          <p:nvPr>
            <p:ph type="pic" sz="quarter" idx="22"/>
          </p:nvPr>
        </p:nvSpPr>
        <p:spPr>
          <a:xfrm>
            <a:off x="10345460" y="2611744"/>
            <a:ext cx="2096326" cy="1618774"/>
          </a:xfrm>
          <a:solidFill>
            <a:schemeClr val="tx2"/>
          </a:solidFill>
        </p:spPr>
        <p:txBody>
          <a:bodyPr anchor="b" anchorCtr="1">
            <a:noAutofit/>
          </a:bodyPr>
          <a:lstStyle/>
          <a:p>
            <a:endParaRPr lang="en-US"/>
          </a:p>
        </p:txBody>
      </p:sp>
    </p:spTree>
    <p:extLst>
      <p:ext uri="{BB962C8B-B14F-4D97-AF65-F5344CB8AC3E}">
        <p14:creationId xmlns:p14="http://schemas.microsoft.com/office/powerpoint/2010/main" val="18275816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78037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183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91750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B211B-2461-4B9F-BA8C-284E0DB596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E9AC44-84E1-4E6F-BAEC-645C4BDB9B4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F704E1-8F17-401F-A5DA-78D856867F08}"/>
              </a:ext>
            </a:extLst>
          </p:cNvPr>
          <p:cNvSpPr>
            <a:spLocks noGrp="1"/>
          </p:cNvSpPr>
          <p:nvPr>
            <p:ph type="dt" sz="half" idx="10"/>
          </p:nvPr>
        </p:nvSpPr>
        <p:spPr/>
        <p:txBody>
          <a:bodyPr/>
          <a:lstStyle/>
          <a:p>
            <a:fld id="{359D067C-962C-437E-A0A2-08F853FA38DF}" type="datetimeFigureOut">
              <a:rPr lang="en-US" smtClean="0"/>
              <a:t>3/29/2021</a:t>
            </a:fld>
            <a:endParaRPr lang="en-US"/>
          </a:p>
        </p:txBody>
      </p:sp>
      <p:sp>
        <p:nvSpPr>
          <p:cNvPr id="5" name="Footer Placeholder 4">
            <a:extLst>
              <a:ext uri="{FF2B5EF4-FFF2-40B4-BE49-F238E27FC236}">
                <a16:creationId xmlns:a16="http://schemas.microsoft.com/office/drawing/2014/main" id="{2B9DA1EB-778F-4452-8B63-7001376E22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7BF147-9ACC-436C-9400-E0E719D962DF}"/>
              </a:ext>
            </a:extLst>
          </p:cNvPr>
          <p:cNvSpPr>
            <a:spLocks noGrp="1"/>
          </p:cNvSpPr>
          <p:nvPr>
            <p:ph type="sldNum" sz="quarter" idx="12"/>
          </p:nvPr>
        </p:nvSpPr>
        <p:spPr/>
        <p:txBody>
          <a:bodyPr/>
          <a:lstStyle/>
          <a:p>
            <a:fld id="{4F3D8C6D-7F86-49EE-85D0-46BDCF8324B7}" type="slidenum">
              <a:rPr lang="en-US" smtClean="0"/>
              <a:t>‹#›</a:t>
            </a:fld>
            <a:endParaRPr lang="en-US"/>
          </a:p>
        </p:txBody>
      </p:sp>
    </p:spTree>
    <p:extLst>
      <p:ext uri="{BB962C8B-B14F-4D97-AF65-F5344CB8AC3E}">
        <p14:creationId xmlns:p14="http://schemas.microsoft.com/office/powerpoint/2010/main" val="64209559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Dark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93663859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000"/>
            </a:lvl1pPr>
          </a:lstStyle>
          <a:p>
            <a:r>
              <a:rPr lang="en-US"/>
              <a:t>Click to edit Master title style</a:t>
            </a:r>
          </a:p>
        </p:txBody>
      </p:sp>
      <p:sp>
        <p:nvSpPr>
          <p:cNvPr id="3" name="Text Placeholder 2"/>
          <p:cNvSpPr>
            <a:spLocks noGrp="1"/>
          </p:cNvSpPr>
          <p:nvPr>
            <p:ph type="body" sz="quarter" idx="10"/>
          </p:nvPr>
        </p:nvSpPr>
        <p:spPr>
          <a:xfrm>
            <a:off x="269302" y="1187645"/>
            <a:ext cx="11655079" cy="16023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7017383"/>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136605"/>
            <a:ext cx="9230589" cy="1570127"/>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274761"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275827"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9261081"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9282896"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168043632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Microsoft Lear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6077021-9464-44F6-B827-5358FF42B1A1}"/>
              </a:ext>
            </a:extLst>
          </p:cNvPr>
          <p:cNvPicPr>
            <a:picLocks noChangeAspect="1"/>
          </p:cNvPicPr>
          <p:nvPr userDrawn="1"/>
        </p:nvPicPr>
        <p:blipFill>
          <a:blip r:embed="rId2"/>
          <a:srcRect/>
          <a:stretch/>
        </p:blipFill>
        <p:spPr>
          <a:xfrm>
            <a:off x="0" y="0"/>
            <a:ext cx="12192000"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4518" y="613556"/>
            <a:ext cx="1366440" cy="292608"/>
          </a:xfrm>
          <a:prstGeom prst="rect">
            <a:avLst/>
          </a:prstGeom>
        </p:spPr>
      </p:pic>
      <p:sp>
        <p:nvSpPr>
          <p:cNvPr id="12" name="Text Placeholder 4">
            <a:extLst>
              <a:ext uri="{FF2B5EF4-FFF2-40B4-BE49-F238E27FC236}">
                <a16:creationId xmlns:a16="http://schemas.microsoft.com/office/drawing/2014/main" id="{5AF0652F-7102-4C27-A256-1E62A5FF6BFC}"/>
              </a:ext>
            </a:extLst>
          </p:cNvPr>
          <p:cNvSpPr txBox="1">
            <a:spLocks/>
          </p:cNvSpPr>
          <p:nvPr userDrawn="1"/>
        </p:nvSpPr>
        <p:spPr>
          <a:xfrm>
            <a:off x="568960" y="6259684"/>
            <a:ext cx="4163498" cy="307777"/>
          </a:xfrm>
          <a:prstGeom prst="rect">
            <a:avLst/>
          </a:prstGeo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0" baseline="0">
                <a:solidFill>
                  <a:srgbClr val="0078D4"/>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Microsoft.com/Learn</a:t>
            </a:r>
          </a:p>
        </p:txBody>
      </p:sp>
    </p:spTree>
    <p:extLst>
      <p:ext uri="{BB962C8B-B14F-4D97-AF65-F5344CB8AC3E}">
        <p14:creationId xmlns:p14="http://schemas.microsoft.com/office/powerpoint/2010/main" val="708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43A5E"/>
        </a:solidFill>
        <a:effectLst/>
      </p:bgPr>
    </p:bg>
    <p:spTree>
      <p:nvGrpSpPr>
        <p:cNvPr id="1" name=""/>
        <p:cNvGrpSpPr/>
        <p:nvPr/>
      </p:nvGrpSpPr>
      <p:grpSpPr>
        <a:xfrm>
          <a:off x="0" y="0"/>
          <a:ext cx="0" cy="0"/>
          <a:chOff x="0" y="0"/>
          <a:chExt cx="0" cy="0"/>
        </a:xfrm>
      </p:grpSpPr>
      <p:pic>
        <p:nvPicPr>
          <p:cNvPr id="3" name="Image" descr="Image">
            <a:extLst>
              <a:ext uri="{FF2B5EF4-FFF2-40B4-BE49-F238E27FC236}">
                <a16:creationId xmlns:a16="http://schemas.microsoft.com/office/drawing/2014/main" id="{2F454218-0D46-4351-BBBB-D82416BE5B22}"/>
              </a:ext>
            </a:extLst>
          </p:cNvPr>
          <p:cNvPicPr>
            <a:picLocks noChangeAspect="1"/>
          </p:cNvPicPr>
          <p:nvPr userDrawn="1"/>
        </p:nvPicPr>
        <p:blipFill>
          <a:blip r:embed="rId2"/>
          <a:stretch>
            <a:fillRect/>
          </a:stretch>
        </p:blipFill>
        <p:spPr>
          <a:xfrm>
            <a:off x="1" y="0"/>
            <a:ext cx="12192000" cy="6858000"/>
          </a:xfrm>
          <a:prstGeom prst="rect">
            <a:avLst/>
          </a:prstGeom>
          <a:ln w="12700">
            <a:miter lim="400000"/>
          </a:ln>
        </p:spPr>
      </p:pic>
      <p:pic>
        <p:nvPicPr>
          <p:cNvPr id="4" name="Image" descr="Image">
            <a:extLst>
              <a:ext uri="{FF2B5EF4-FFF2-40B4-BE49-F238E27FC236}">
                <a16:creationId xmlns:a16="http://schemas.microsoft.com/office/drawing/2014/main" id="{639BE83B-0B32-4FF7-946B-BAF64DA16D80}"/>
              </a:ext>
            </a:extLst>
          </p:cNvPr>
          <p:cNvPicPr>
            <a:picLocks noChangeAspect="1"/>
          </p:cNvPicPr>
          <p:nvPr userDrawn="1"/>
        </p:nvPicPr>
        <p:blipFill>
          <a:blip r:embed="rId3"/>
          <a:stretch>
            <a:fillRect/>
          </a:stretch>
        </p:blipFill>
        <p:spPr>
          <a:xfrm>
            <a:off x="0" y="702520"/>
            <a:ext cx="12190286" cy="6155481"/>
          </a:xfrm>
          <a:prstGeom prst="rect">
            <a:avLst/>
          </a:prstGeom>
          <a:ln w="12700">
            <a:miter lim="400000"/>
          </a:ln>
        </p:spPr>
      </p:pic>
      <p:sp>
        <p:nvSpPr>
          <p:cNvPr id="9" name="Title 1"/>
          <p:cNvSpPr>
            <a:spLocks noGrp="1"/>
          </p:cNvSpPr>
          <p:nvPr>
            <p:ph type="title" hasCustomPrompt="1"/>
          </p:nvPr>
        </p:nvSpPr>
        <p:spPr>
          <a:xfrm>
            <a:off x="584200" y="2979778"/>
            <a:ext cx="6883400" cy="553998"/>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Presentation title </a:t>
            </a:r>
          </a:p>
        </p:txBody>
      </p:sp>
      <p:sp>
        <p:nvSpPr>
          <p:cNvPr id="5" name="Text Placeholder 4"/>
          <p:cNvSpPr>
            <a:spLocks noGrp="1"/>
          </p:cNvSpPr>
          <p:nvPr>
            <p:ph type="body" sz="quarter" idx="12" hasCustomPrompt="1"/>
          </p:nvPr>
        </p:nvSpPr>
        <p:spPr>
          <a:xfrm>
            <a:off x="584200" y="3962400"/>
            <a:ext cx="68834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2" name="MS logo white - EMF" descr="Microsoft logo white text version">
            <a:extLst>
              <a:ext uri="{FF2B5EF4-FFF2-40B4-BE49-F238E27FC236}">
                <a16:creationId xmlns:a16="http://schemas.microsoft.com/office/drawing/2014/main" id="{FBA90332-A7D9-4353-82A5-431FF1E924E8}"/>
              </a:ext>
            </a:extLst>
          </p:cNvPr>
          <p:cNvPicPr>
            <a:picLocks noChangeAspect="1"/>
          </p:cNvPicPr>
          <p:nvPr userDrawn="1"/>
        </p:nvPicPr>
        <p:blipFill>
          <a:blip r:embed="rId4"/>
          <a:stretch>
            <a:fillRect/>
          </a:stretch>
        </p:blipFill>
        <p:spPr bwMode="invGray">
          <a:xfrm>
            <a:off x="584200" y="585788"/>
            <a:ext cx="1366245" cy="292608"/>
          </a:xfrm>
          <a:prstGeom prst="rect">
            <a:avLst/>
          </a:prstGeom>
        </p:spPr>
      </p:pic>
    </p:spTree>
    <p:extLst>
      <p:ext uri="{BB962C8B-B14F-4D97-AF65-F5344CB8AC3E}">
        <p14:creationId xmlns:p14="http://schemas.microsoft.com/office/powerpoint/2010/main" val="29175354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4704">
          <p15:clr>
            <a:srgbClr val="5ACBF0"/>
          </p15:clr>
        </p15:guide>
        <p15:guide id="4"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380337081"/>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416544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48235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5904710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7033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endParaRPr lang="en-US" dirty="0"/>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80555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475715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3400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213225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endParaRPr lang="en-US" dirty="0"/>
          </a:p>
        </p:txBody>
      </p:sp>
    </p:spTree>
    <p:extLst>
      <p:ext uri="{BB962C8B-B14F-4D97-AF65-F5344CB8AC3E}">
        <p14:creationId xmlns:p14="http://schemas.microsoft.com/office/powerpoint/2010/main" val="32095894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578261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gradFill>
                  <a:gsLst>
                    <a:gs pos="0">
                      <a:schemeClr val="tx1"/>
                    </a:gs>
                    <a:gs pos="100000">
                      <a:schemeClr val="tx1"/>
                    </a:gs>
                  </a:gsLst>
                  <a:lin ang="5400000" scaled="1"/>
                </a:gra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gradFill>
                  <a:gsLst>
                    <a:gs pos="0">
                      <a:schemeClr val="tx1"/>
                    </a:gs>
                    <a:gs pos="100000">
                      <a:schemeClr val="tx1"/>
                    </a:gs>
                  </a:gsLst>
                  <a:lin ang="5400000" scaled="1"/>
                </a:gra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82294313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2213175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1642756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0830997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endParaRPr lang="en-US" dirty="0"/>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271928073"/>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805771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28050143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2921765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00764594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934778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148483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2488028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gradFill>
                  <a:gsLst>
                    <a:gs pos="0">
                      <a:schemeClr val="tx1"/>
                    </a:gs>
                    <a:gs pos="100000">
                      <a:schemeClr val="tx1"/>
                    </a:gs>
                  </a:gsLst>
                  <a:lin ang="5400000" scaled="1"/>
                </a:gradFill>
              </a:defRPr>
            </a:lvl1pPr>
          </a:lstStyle>
          <a:p>
            <a:r>
              <a:rPr lang="en-US"/>
              <a:t>Title</a:t>
            </a:r>
          </a:p>
        </p:txBody>
      </p:sp>
    </p:spTree>
    <p:extLst>
      <p:ext uri="{BB962C8B-B14F-4D97-AF65-F5344CB8AC3E}">
        <p14:creationId xmlns:p14="http://schemas.microsoft.com/office/powerpoint/2010/main" val="3432968017"/>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364742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26753170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01168530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20700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26565325"/>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20700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01370461"/>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430887"/>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21013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47415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8050885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endParaRPr lang="en-US" dirty="0"/>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0444440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Tree>
    <p:extLst>
      <p:ext uri="{BB962C8B-B14F-4D97-AF65-F5344CB8AC3E}">
        <p14:creationId xmlns:p14="http://schemas.microsoft.com/office/powerpoint/2010/main" val="229962168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1105425510"/>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553998"/>
          </a:xfrm>
        </p:spPr>
        <p:txBody>
          <a:bodyPr/>
          <a:lstStyle>
            <a:lvl1pPr>
              <a:defRPr>
                <a:solidFill>
                  <a:schemeClr val="tx1"/>
                </a:solidFill>
              </a:defRPr>
            </a:lvl1pPr>
          </a:lstStyle>
          <a:p>
            <a:r>
              <a:rPr lang="en-US"/>
              <a:t>Click to edit Master title style</a:t>
            </a:r>
            <a:endParaRPr lang="en-US" dirty="0"/>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Tree>
    <p:extLst>
      <p:ext uri="{BB962C8B-B14F-4D97-AF65-F5344CB8AC3E}">
        <p14:creationId xmlns:p14="http://schemas.microsoft.com/office/powerpoint/2010/main" val="77082055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dirty="0"/>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Tree>
    <p:extLst>
      <p:ext uri="{BB962C8B-B14F-4D97-AF65-F5344CB8AC3E}">
        <p14:creationId xmlns:p14="http://schemas.microsoft.com/office/powerpoint/2010/main" val="19596920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dirty="0"/>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Tree>
    <p:extLst>
      <p:ext uri="{BB962C8B-B14F-4D97-AF65-F5344CB8AC3E}">
        <p14:creationId xmlns:p14="http://schemas.microsoft.com/office/powerpoint/2010/main" val="40840612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43A5E"/>
        </a:solidFill>
        <a:effectLst/>
      </p:bgPr>
    </p:bg>
    <p:spTree>
      <p:nvGrpSpPr>
        <p:cNvPr id="1" name=""/>
        <p:cNvGrpSpPr/>
        <p:nvPr/>
      </p:nvGrpSpPr>
      <p:grpSpPr>
        <a:xfrm>
          <a:off x="0" y="0"/>
          <a:ext cx="0" cy="0"/>
          <a:chOff x="0" y="0"/>
          <a:chExt cx="0" cy="0"/>
        </a:xfrm>
      </p:grpSpPr>
      <p:pic>
        <p:nvPicPr>
          <p:cNvPr id="3" name="Image" descr="Image">
            <a:extLst>
              <a:ext uri="{FF2B5EF4-FFF2-40B4-BE49-F238E27FC236}">
                <a16:creationId xmlns:a16="http://schemas.microsoft.com/office/drawing/2014/main" id="{9B76177D-2EF6-4521-94A2-23E08BF9F9D3}"/>
              </a:ext>
            </a:extLst>
          </p:cNvPr>
          <p:cNvPicPr>
            <a:picLocks noChangeAspect="1"/>
          </p:cNvPicPr>
          <p:nvPr userDrawn="1"/>
        </p:nvPicPr>
        <p:blipFill>
          <a:blip r:embed="rId2"/>
          <a:stretch>
            <a:fillRect/>
          </a:stretch>
        </p:blipFill>
        <p:spPr>
          <a:xfrm>
            <a:off x="1" y="0"/>
            <a:ext cx="12192000" cy="6858000"/>
          </a:xfrm>
          <a:prstGeom prst="rect">
            <a:avLst/>
          </a:prstGeom>
          <a:ln w="12700">
            <a:miter lim="400000"/>
          </a:ln>
        </p:spPr>
      </p:pic>
      <p:pic>
        <p:nvPicPr>
          <p:cNvPr id="7" name="Image" descr="Image">
            <a:extLst>
              <a:ext uri="{FF2B5EF4-FFF2-40B4-BE49-F238E27FC236}">
                <a16:creationId xmlns:a16="http://schemas.microsoft.com/office/drawing/2014/main" id="{9C455890-8289-4143-86AB-7615AE5D2F0C}"/>
              </a:ext>
            </a:extLst>
          </p:cNvPr>
          <p:cNvPicPr>
            <a:picLocks noChangeAspect="1"/>
          </p:cNvPicPr>
          <p:nvPr userDrawn="1"/>
        </p:nvPicPr>
        <p:blipFill>
          <a:blip r:embed="rId3"/>
          <a:stretch>
            <a:fillRect/>
          </a:stretch>
        </p:blipFill>
        <p:spPr>
          <a:xfrm>
            <a:off x="1714" y="702519"/>
            <a:ext cx="12190286" cy="6155481"/>
          </a:xfrm>
          <a:prstGeom prst="rect">
            <a:avLst/>
          </a:prstGeom>
          <a:ln w="12700">
            <a:miter lim="400000"/>
          </a:ln>
        </p:spPr>
      </p:pic>
      <p:sp>
        <p:nvSpPr>
          <p:cNvPr id="2" name="Title 1"/>
          <p:cNvSpPr>
            <a:spLocks noGrp="1"/>
          </p:cNvSpPr>
          <p:nvPr>
            <p:ph type="title" hasCustomPrompt="1"/>
          </p:nvPr>
        </p:nvSpPr>
        <p:spPr>
          <a:xfrm>
            <a:off x="585216" y="3033223"/>
            <a:ext cx="68823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882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 or subtitle</a:t>
            </a:r>
          </a:p>
        </p:txBody>
      </p:sp>
    </p:spTree>
    <p:extLst>
      <p:ext uri="{BB962C8B-B14F-4D97-AF65-F5344CB8AC3E}">
        <p14:creationId xmlns:p14="http://schemas.microsoft.com/office/powerpoint/2010/main" val="36360099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704">
          <p15:clr>
            <a:srgbClr val="5ACBF0"/>
          </p15:clr>
        </p15:guide>
        <p15:guide id="3" orient="horz" pos="1910">
          <p15:clr>
            <a:srgbClr val="5ACBF0"/>
          </p15:clr>
        </p15:guide>
        <p15:guide id="4" orient="horz" pos="2505">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43A5E"/>
        </a:solidFill>
        <a:effectLst/>
      </p:bgPr>
    </p:bg>
    <p:spTree>
      <p:nvGrpSpPr>
        <p:cNvPr id="1" name=""/>
        <p:cNvGrpSpPr/>
        <p:nvPr/>
      </p:nvGrpSpPr>
      <p:grpSpPr>
        <a:xfrm>
          <a:off x="0" y="0"/>
          <a:ext cx="0" cy="0"/>
          <a:chOff x="0" y="0"/>
          <a:chExt cx="0" cy="0"/>
        </a:xfrm>
      </p:grpSpPr>
      <p:pic>
        <p:nvPicPr>
          <p:cNvPr id="4" name="Image" descr="Image">
            <a:extLst>
              <a:ext uri="{FF2B5EF4-FFF2-40B4-BE49-F238E27FC236}">
                <a16:creationId xmlns:a16="http://schemas.microsoft.com/office/drawing/2014/main" id="{B9A523E9-3540-4A3B-ADB7-14250A07DF15}"/>
              </a:ext>
            </a:extLst>
          </p:cNvPr>
          <p:cNvPicPr>
            <a:picLocks noChangeAspect="1"/>
          </p:cNvPicPr>
          <p:nvPr userDrawn="1"/>
        </p:nvPicPr>
        <p:blipFill>
          <a:blip r:embed="rId2"/>
          <a:stretch>
            <a:fillRect/>
          </a:stretch>
        </p:blipFill>
        <p:spPr>
          <a:xfrm>
            <a:off x="1" y="0"/>
            <a:ext cx="12192000" cy="6858000"/>
          </a:xfrm>
          <a:prstGeom prst="rect">
            <a:avLst/>
          </a:prstGeom>
          <a:ln w="12700">
            <a:miter lim="400000"/>
          </a:ln>
        </p:spPr>
      </p:pic>
      <p:pic>
        <p:nvPicPr>
          <p:cNvPr id="6" name="Image" descr="Image">
            <a:extLst>
              <a:ext uri="{FF2B5EF4-FFF2-40B4-BE49-F238E27FC236}">
                <a16:creationId xmlns:a16="http://schemas.microsoft.com/office/drawing/2014/main" id="{F0EEB245-734B-42B2-842F-C99AEF438844}"/>
              </a:ext>
            </a:extLst>
          </p:cNvPr>
          <p:cNvPicPr>
            <a:picLocks noChangeAspect="1"/>
          </p:cNvPicPr>
          <p:nvPr userDrawn="1"/>
        </p:nvPicPr>
        <p:blipFill>
          <a:blip r:embed="rId3"/>
          <a:stretch>
            <a:fillRect/>
          </a:stretch>
        </p:blipFill>
        <p:spPr>
          <a:xfrm>
            <a:off x="1714" y="702519"/>
            <a:ext cx="12190286" cy="6155481"/>
          </a:xfrm>
          <a:prstGeom prst="rect">
            <a:avLst/>
          </a:prstGeom>
          <a:ln w="12700">
            <a:miter lim="400000"/>
          </a:ln>
        </p:spPr>
      </p:pic>
      <p:sp>
        <p:nvSpPr>
          <p:cNvPr id="2" name="Title 1"/>
          <p:cNvSpPr>
            <a:spLocks noGrp="1"/>
          </p:cNvSpPr>
          <p:nvPr>
            <p:ph type="title" hasCustomPrompt="1"/>
          </p:nvPr>
        </p:nvSpPr>
        <p:spPr>
          <a:xfrm>
            <a:off x="585216" y="3035808"/>
            <a:ext cx="68823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783632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704">
          <p15:clr>
            <a:srgbClr val="5ACBF0"/>
          </p15:clr>
        </p15:guide>
        <p15:guide id="3" orient="horz" pos="1911">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5551352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77580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 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99853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243A5E"/>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561767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6774611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182351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45756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76095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34315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E18DD-934B-406E-9A8A-CB695F904135}"/>
              </a:ext>
            </a:extLst>
          </p:cNvPr>
          <p:cNvSpPr>
            <a:spLocks noGrp="1"/>
          </p:cNvSpPr>
          <p:nvPr>
            <p:ph type="title"/>
          </p:nvPr>
        </p:nvSpPr>
        <p:spPr>
          <a:xfrm>
            <a:off x="588263" y="1527969"/>
            <a:ext cx="5507737" cy="979488"/>
          </a:xfrm>
        </p:spPr>
        <p:txBody>
          <a:bodyPr/>
          <a:lstStyle/>
          <a:p>
            <a:r>
              <a:rPr lang="en-US"/>
              <a:t>Click to edit Master title style</a:t>
            </a:r>
          </a:p>
        </p:txBody>
      </p:sp>
      <p:sp>
        <p:nvSpPr>
          <p:cNvPr id="5" name="Text Placeholder 4">
            <a:extLst>
              <a:ext uri="{FF2B5EF4-FFF2-40B4-BE49-F238E27FC236}">
                <a16:creationId xmlns:a16="http://schemas.microsoft.com/office/drawing/2014/main" id="{21C2B5AF-0799-4E87-82F3-7633F52FFAFC}"/>
              </a:ext>
            </a:extLst>
          </p:cNvPr>
          <p:cNvSpPr>
            <a:spLocks noGrp="1"/>
          </p:cNvSpPr>
          <p:nvPr>
            <p:ph type="body" sz="quarter" idx="10"/>
          </p:nvPr>
        </p:nvSpPr>
        <p:spPr>
          <a:xfrm>
            <a:off x="584200" y="3104871"/>
            <a:ext cx="5655235" cy="1440394"/>
          </a:xfrm>
        </p:spPr>
        <p:txBody>
          <a:bodyPr/>
          <a:lstStyle>
            <a:lvl1pPr marL="0" indent="0">
              <a:spcBef>
                <a:spcPts val="1200"/>
              </a:spcBef>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401906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205069"/>
            <a:ext cx="4158362" cy="121276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425657"/>
            <a:ext cx="4162425" cy="2843380"/>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7" name="Straight Connector 6">
            <a:extLst>
              <a:ext uri="{FF2B5EF4-FFF2-40B4-BE49-F238E27FC236}">
                <a16:creationId xmlns:a16="http://schemas.microsoft.com/office/drawing/2014/main" id="{707D76AE-79B3-F84D-9417-921BF09368AE}"/>
              </a:ext>
            </a:extLst>
          </p:cNvPr>
          <p:cNvCxnSpPr>
            <a:cxnSpLocks/>
          </p:cNvCxnSpPr>
          <p:nvPr userDrawn="1"/>
        </p:nvCxnSpPr>
        <p:spPr>
          <a:xfrm>
            <a:off x="584200" y="3129144"/>
            <a:ext cx="4167188" cy="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2527265"/>
            <a:ext cx="4167188" cy="246221"/>
          </a:xfrm>
        </p:spPr>
        <p:txBody>
          <a:bodyPr/>
          <a:lstStyle>
            <a:lvl1pPr marL="0" indent="0">
              <a:buNone/>
              <a:defRPr sz="1600" b="1" i="0">
                <a:solidFill>
                  <a:schemeClr val="accent1"/>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err="1"/>
              <a:t>Subheader</a:t>
            </a:r>
            <a:endParaRPr lang="en-US"/>
          </a:p>
        </p:txBody>
      </p:sp>
    </p:spTree>
    <p:extLst>
      <p:ext uri="{BB962C8B-B14F-4D97-AF65-F5344CB8AC3E}">
        <p14:creationId xmlns:p14="http://schemas.microsoft.com/office/powerpoint/2010/main" val="35426704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256889" y="4009966"/>
            <a:ext cx="9678222" cy="553998"/>
          </a:xfrm>
        </p:spPr>
        <p:txBody>
          <a:bodyPr anchor="t"/>
          <a:lstStyle>
            <a:lvl1pPr algn="ct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2067394" y="4725025"/>
            <a:ext cx="8057212" cy="338554"/>
          </a:xfrm>
        </p:spPr>
        <p:txBody>
          <a:bodyPr anchor="t"/>
          <a:lstStyle>
            <a:lvl1pPr marL="0" indent="0" algn="ctr">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0" y="-1"/>
            <a:ext cx="12192000" cy="3848905"/>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5684615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Case Study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2067394" y="4590113"/>
            <a:ext cx="8057212" cy="338554"/>
          </a:xfrm>
        </p:spPr>
        <p:txBody>
          <a:bodyPr anchor="t"/>
          <a:lstStyle>
            <a:lvl1pPr marL="0" indent="0" algn="ctr">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0" y="-1"/>
            <a:ext cx="12192000" cy="4302178"/>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189434" y="3615148"/>
            <a:ext cx="9678222" cy="553998"/>
          </a:xfrm>
        </p:spPr>
        <p:txBody>
          <a:bodyPr anchor="t"/>
          <a:lstStyle>
            <a:lvl1pPr algn="ctr">
              <a:defRPr/>
            </a:lvl1pPr>
          </a:lstStyle>
          <a:p>
            <a:r>
              <a:rPr lang="en-US"/>
              <a:t>Title square photo layout </a:t>
            </a:r>
          </a:p>
        </p:txBody>
      </p:sp>
    </p:spTree>
    <p:extLst>
      <p:ext uri="{BB962C8B-B14F-4D97-AF65-F5344CB8AC3E}">
        <p14:creationId xmlns:p14="http://schemas.microsoft.com/office/powerpoint/2010/main" val="264683409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EF227518-E0C9-435E-A0A0-150D2B57B112}"/>
              </a:ext>
            </a:extLst>
          </p:cNvPr>
          <p:cNvSpPr/>
          <p:nvPr userDrawn="1"/>
        </p:nvSpPr>
        <p:spPr bwMode="auto">
          <a:xfrm>
            <a:off x="6148422"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8" name="Rectangle 17">
            <a:extLst>
              <a:ext uri="{FF2B5EF4-FFF2-40B4-BE49-F238E27FC236}">
                <a16:creationId xmlns:a16="http://schemas.microsoft.com/office/drawing/2014/main" id="{9F0EB202-E158-4485-B222-0FCDEC89A309}"/>
              </a:ext>
            </a:extLst>
          </p:cNvPr>
          <p:cNvSpPr/>
          <p:nvPr userDrawn="1"/>
        </p:nvSpPr>
        <p:spPr bwMode="auto">
          <a:xfrm>
            <a:off x="501998"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9" name="Rectangle 18">
            <a:extLst>
              <a:ext uri="{FF2B5EF4-FFF2-40B4-BE49-F238E27FC236}">
                <a16:creationId xmlns:a16="http://schemas.microsoft.com/office/drawing/2014/main" id="{D5C71814-DCC4-46FC-A1BB-1A648FD5C85B}"/>
              </a:ext>
            </a:extLst>
          </p:cNvPr>
          <p:cNvSpPr/>
          <p:nvPr userDrawn="1"/>
        </p:nvSpPr>
        <p:spPr bwMode="auto">
          <a:xfrm>
            <a:off x="3325210"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20" name="Rectangle 19">
            <a:extLst>
              <a:ext uri="{FF2B5EF4-FFF2-40B4-BE49-F238E27FC236}">
                <a16:creationId xmlns:a16="http://schemas.microsoft.com/office/drawing/2014/main" id="{DB9427F7-C573-4C8C-B153-697CCBE1BFB2}"/>
              </a:ext>
            </a:extLst>
          </p:cNvPr>
          <p:cNvSpPr/>
          <p:nvPr userDrawn="1"/>
        </p:nvSpPr>
        <p:spPr bwMode="auto">
          <a:xfrm>
            <a:off x="8971633"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3" name="Text Placeholder 12">
            <a:extLst>
              <a:ext uri="{FF2B5EF4-FFF2-40B4-BE49-F238E27FC236}">
                <a16:creationId xmlns:a16="http://schemas.microsoft.com/office/drawing/2014/main" id="{4DE6FDA7-6359-42AB-AACF-D7A3D7D28A33}"/>
              </a:ext>
            </a:extLst>
          </p:cNvPr>
          <p:cNvSpPr>
            <a:spLocks noGrp="1"/>
          </p:cNvSpPr>
          <p:nvPr>
            <p:ph type="body" sz="quarter" idx="15"/>
          </p:nvPr>
        </p:nvSpPr>
        <p:spPr>
          <a:xfrm>
            <a:off x="588963" y="1011238"/>
            <a:ext cx="11020425" cy="276999"/>
          </a:xfrm>
        </p:spPr>
        <p:txBody>
          <a:bodyPr/>
          <a:lstStyle>
            <a:lvl1pPr marL="0" indent="0" algn="ctr">
              <a:buNone/>
              <a:defRPr kumimoji="0" lang="en-US" sz="1800" b="0" i="0" u="none" strike="noStrike" kern="1200" cap="none" spc="0" normalizeH="0" baseline="0" dirty="0">
                <a:ln>
                  <a:noFill/>
                </a:ln>
                <a:solidFill>
                  <a:srgbClr val="50E6FF"/>
                </a:solidFill>
                <a:effectLst/>
                <a:uLnTx/>
                <a:uFillTx/>
                <a:latin typeface="Segoe UI"/>
                <a:ea typeface="+mn-ea"/>
                <a:cs typeface="+mn-cs"/>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s</a:t>
            </a:r>
          </a:p>
        </p:txBody>
      </p:sp>
      <p:sp>
        <p:nvSpPr>
          <p:cNvPr id="14" name="Text Placeholder 12">
            <a:extLst>
              <a:ext uri="{FF2B5EF4-FFF2-40B4-BE49-F238E27FC236}">
                <a16:creationId xmlns:a16="http://schemas.microsoft.com/office/drawing/2014/main" id="{7308AB1B-0249-467A-8D9D-1BF735767950}"/>
              </a:ext>
            </a:extLst>
          </p:cNvPr>
          <p:cNvSpPr>
            <a:spLocks noGrp="1"/>
          </p:cNvSpPr>
          <p:nvPr>
            <p:ph type="body" sz="quarter" idx="16"/>
          </p:nvPr>
        </p:nvSpPr>
        <p:spPr>
          <a:xfrm>
            <a:off x="588963" y="211097"/>
            <a:ext cx="11020425" cy="246221"/>
          </a:xfrm>
        </p:spPr>
        <p:txBody>
          <a:bodyPr/>
          <a:lstStyle>
            <a:lvl1pPr marL="0" indent="0" algn="ctr">
              <a:buNone/>
              <a:defRPr sz="1600" cap="all" spc="100" baseline="0">
                <a:solidFill>
                  <a:schemeClr val="accent1">
                    <a:lumMod val="60000"/>
                    <a:lumOff val="40000"/>
                  </a:schemeClr>
                </a:solidFill>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lvl="0"/>
            <a:r>
              <a:rPr lang="en-US"/>
              <a:t>Click to edit Master text styles</a:t>
            </a:r>
          </a:p>
        </p:txBody>
      </p:sp>
      <p:sp>
        <p:nvSpPr>
          <p:cNvPr id="2" name="Title 1">
            <a:extLst>
              <a:ext uri="{FF2B5EF4-FFF2-40B4-BE49-F238E27FC236}">
                <a16:creationId xmlns:a16="http://schemas.microsoft.com/office/drawing/2014/main" id="{A404B5B7-8773-4896-9B51-294411DD9822}"/>
              </a:ext>
            </a:extLst>
          </p:cNvPr>
          <p:cNvSpPr>
            <a:spLocks noGrp="1"/>
          </p:cNvSpPr>
          <p:nvPr>
            <p:ph type="title"/>
          </p:nvPr>
        </p:nvSpPr>
        <p:spPr/>
        <p:txBody>
          <a:bodyPr/>
          <a:lstStyle>
            <a:lvl1pPr algn="ctr">
              <a:defRPr/>
            </a:lvl1pPr>
          </a:lstStyle>
          <a:p>
            <a:r>
              <a:rPr lang="en-US"/>
              <a:t>Click to edit Master title style</a:t>
            </a:r>
          </a:p>
        </p:txBody>
      </p:sp>
      <p:sp>
        <p:nvSpPr>
          <p:cNvPr id="7" name="Text Placeholder 6">
            <a:extLst>
              <a:ext uri="{FF2B5EF4-FFF2-40B4-BE49-F238E27FC236}">
                <a16:creationId xmlns:a16="http://schemas.microsoft.com/office/drawing/2014/main" id="{73042E59-3F2D-45CC-A47B-3CA4D6A108E5}"/>
              </a:ext>
            </a:extLst>
          </p:cNvPr>
          <p:cNvSpPr>
            <a:spLocks noGrp="1"/>
          </p:cNvSpPr>
          <p:nvPr>
            <p:ph type="body" sz="quarter" idx="26" hasCustomPrompt="1"/>
          </p:nvPr>
        </p:nvSpPr>
        <p:spPr>
          <a:xfrm>
            <a:off x="588963"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6">
            <a:extLst>
              <a:ext uri="{FF2B5EF4-FFF2-40B4-BE49-F238E27FC236}">
                <a16:creationId xmlns:a16="http://schemas.microsoft.com/office/drawing/2014/main" id="{9599F6FC-4120-434E-A257-EDA21F526B4E}"/>
              </a:ext>
            </a:extLst>
          </p:cNvPr>
          <p:cNvSpPr>
            <a:spLocks noGrp="1"/>
          </p:cNvSpPr>
          <p:nvPr>
            <p:ph type="body" sz="quarter" idx="27" hasCustomPrompt="1"/>
          </p:nvPr>
        </p:nvSpPr>
        <p:spPr>
          <a:xfrm>
            <a:off x="3445384"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6">
            <a:extLst>
              <a:ext uri="{FF2B5EF4-FFF2-40B4-BE49-F238E27FC236}">
                <a16:creationId xmlns:a16="http://schemas.microsoft.com/office/drawing/2014/main" id="{2DE9D245-D213-4997-9799-EC1C29E6E3E7}"/>
              </a:ext>
            </a:extLst>
          </p:cNvPr>
          <p:cNvSpPr>
            <a:spLocks noGrp="1"/>
          </p:cNvSpPr>
          <p:nvPr>
            <p:ph type="body" sz="quarter" idx="28" hasCustomPrompt="1"/>
          </p:nvPr>
        </p:nvSpPr>
        <p:spPr>
          <a:xfrm>
            <a:off x="6268596"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6">
            <a:extLst>
              <a:ext uri="{FF2B5EF4-FFF2-40B4-BE49-F238E27FC236}">
                <a16:creationId xmlns:a16="http://schemas.microsoft.com/office/drawing/2014/main" id="{98699805-E14A-494D-A249-391BCDF54C04}"/>
              </a:ext>
            </a:extLst>
          </p:cNvPr>
          <p:cNvSpPr>
            <a:spLocks noGrp="1"/>
          </p:cNvSpPr>
          <p:nvPr>
            <p:ph type="body" sz="quarter" idx="29" hasCustomPrompt="1"/>
          </p:nvPr>
        </p:nvSpPr>
        <p:spPr>
          <a:xfrm>
            <a:off x="9091807"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957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12">
          <p15:clr>
            <a:srgbClr val="A4A3A4"/>
          </p15:clr>
        </p15:guide>
        <p15:guide id="28" orient="horz" pos="905">
          <p15:clr>
            <a:srgbClr val="5ACBF0"/>
          </p15:clr>
        </p15:guide>
        <p15:guide id="29" orient="horz" pos="1272">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49647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10101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gradFill>
                  <a:gsLst>
                    <a:gs pos="0">
                      <a:schemeClr val="tx1"/>
                    </a:gs>
                    <a:gs pos="100000">
                      <a:schemeClr val="tx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28054466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3830773539"/>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293688" y="292100"/>
            <a:ext cx="4110887" cy="6272213"/>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394600"/>
            <a:ext cx="6392810" cy="1480405"/>
          </a:xfrm>
        </p:spPr>
        <p:txBody>
          <a:bodyPr anchor="t"/>
          <a:lstStyle>
            <a:lvl1pPr marL="0" indent="0">
              <a:spcBef>
                <a:spcPts val="1200"/>
              </a:spcBef>
              <a:spcAft>
                <a:spcPts val="600"/>
              </a:spcAft>
              <a:buNone/>
              <a:defRPr sz="2400">
                <a:solidFill>
                  <a:schemeClr val="accent1">
                    <a:lumMod val="60000"/>
                    <a:lumOff val="40000"/>
                  </a:schemeClr>
                </a:solidFill>
              </a:defRPr>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4849813" y="1463715"/>
            <a:ext cx="2851980" cy="553998"/>
          </a:xfrm>
        </p:spPr>
        <p:txBody>
          <a:bodyPr/>
          <a:lstStyle>
            <a:lvl1pPr>
              <a:defRPr>
                <a:solidFill>
                  <a:schemeClr val="accent2"/>
                </a:solidFill>
              </a:defRPr>
            </a:lvl1pPr>
          </a:lstStyle>
          <a:p>
            <a:r>
              <a:rPr lang="en-US"/>
              <a:t>Click to</a:t>
            </a:r>
          </a:p>
        </p:txBody>
      </p:sp>
    </p:spTree>
    <p:extLst>
      <p:ext uri="{BB962C8B-B14F-4D97-AF65-F5344CB8AC3E}">
        <p14:creationId xmlns:p14="http://schemas.microsoft.com/office/powerpoint/2010/main" val="3030614623"/>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3_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293688" y="292100"/>
            <a:ext cx="4110887" cy="6272213"/>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111677"/>
            <a:ext cx="5958095" cy="1344984"/>
          </a:xfrm>
        </p:spPr>
        <p:txBody>
          <a:bodyPr anchor="t"/>
          <a:lstStyle>
            <a:lvl1pPr marL="0" indent="0">
              <a:spcBef>
                <a:spcPts val="1200"/>
              </a:spcBef>
              <a:spcAft>
                <a:spcPts val="600"/>
              </a:spcAft>
              <a:buNone/>
              <a:defRPr sz="2000"/>
            </a:lvl1pPr>
            <a:lvl2pPr marL="0" indent="0">
              <a:buNone/>
              <a:defRPr sz="1600"/>
            </a:lvl2pPr>
            <a:lvl3pPr marL="0" indent="0">
              <a:buNone/>
              <a:defRPr sz="1200"/>
            </a:lvl3pPr>
            <a:lvl4pPr marL="0" indent="0">
              <a:buNone/>
              <a:defRPr sz="1100"/>
            </a:lvl4pPr>
            <a:lvl5pPr marL="0"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D4E9B4A3-7849-4797-ACCB-22200180F6BB}"/>
              </a:ext>
            </a:extLst>
          </p:cNvPr>
          <p:cNvSpPr>
            <a:spLocks noGrp="1"/>
          </p:cNvSpPr>
          <p:nvPr>
            <p:ph type="title"/>
          </p:nvPr>
        </p:nvSpPr>
        <p:spPr>
          <a:xfrm>
            <a:off x="4849813" y="457200"/>
            <a:ext cx="6756970" cy="553998"/>
          </a:xfrm>
        </p:spPr>
        <p:txBody>
          <a:bodyPr/>
          <a:lstStyle/>
          <a:p>
            <a:r>
              <a:rPr lang="en-US"/>
              <a:t>Click to edit Master title style</a:t>
            </a:r>
          </a:p>
        </p:txBody>
      </p:sp>
      <p:sp>
        <p:nvSpPr>
          <p:cNvPr id="6" name="Text Placeholder 6">
            <a:extLst>
              <a:ext uri="{FF2B5EF4-FFF2-40B4-BE49-F238E27FC236}">
                <a16:creationId xmlns:a16="http://schemas.microsoft.com/office/drawing/2014/main" id="{0E64CAD8-4ECB-4FA2-B572-862C3C535B48}"/>
              </a:ext>
            </a:extLst>
          </p:cNvPr>
          <p:cNvSpPr>
            <a:spLocks noGrp="1"/>
          </p:cNvSpPr>
          <p:nvPr>
            <p:ph type="body" sz="quarter" idx="14"/>
          </p:nvPr>
        </p:nvSpPr>
        <p:spPr>
          <a:xfrm>
            <a:off x="4849813" y="1031316"/>
            <a:ext cx="6392810" cy="492443"/>
          </a:xfrm>
        </p:spPr>
        <p:txBody>
          <a:bodyPr anchor="t"/>
          <a:lstStyle>
            <a:lvl1pPr marL="0" indent="0">
              <a:spcBef>
                <a:spcPts val="1200"/>
              </a:spcBef>
              <a:spcAft>
                <a:spcPts val="600"/>
              </a:spcAft>
              <a:buNone/>
              <a:defRPr sz="3200" b="1">
                <a:solidFill>
                  <a:schemeClr val="accent1">
                    <a:lumMod val="60000"/>
                    <a:lumOff val="40000"/>
                  </a:schemeClr>
                </a:solidFill>
              </a:defRPr>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p:txBody>
      </p:sp>
    </p:spTree>
    <p:extLst>
      <p:ext uri="{BB962C8B-B14F-4D97-AF65-F5344CB8AC3E}">
        <p14:creationId xmlns:p14="http://schemas.microsoft.com/office/powerpoint/2010/main" val="3823304217"/>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446142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algn="l"/>
            <a:r>
              <a:rPr lang="en-US" sz="6000" b="1">
                <a:solidFill>
                  <a:schemeClr val="accent1"/>
                </a:solidFill>
              </a:rPr>
              <a:t>demo</a:t>
            </a:r>
            <a:endParaRPr lang="en-US" sz="4400" b="1">
              <a:solidFill>
                <a:schemeClr val="accent1"/>
              </a:solidFill>
            </a:endParaRPr>
          </a:p>
        </p:txBody>
      </p:sp>
    </p:spTree>
    <p:extLst>
      <p:ext uri="{BB962C8B-B14F-4D97-AF65-F5344CB8AC3E}">
        <p14:creationId xmlns:p14="http://schemas.microsoft.com/office/powerpoint/2010/main" val="275826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2267244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80376260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CENTER LOW">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868015"/>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8243637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57726280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305015069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gradFill>
                  <a:gsLst>
                    <a:gs pos="0">
                      <a:schemeClr val="tx1"/>
                    </a:gs>
                    <a:gs pos="100000">
                      <a:schemeClr val="tx1"/>
                    </a:gs>
                  </a:gsLst>
                  <a:lin ang="5400000" scaled="1"/>
                </a:gra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498799"/>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0">
                      <a:schemeClr val="tx2"/>
                    </a:gs>
                    <a:gs pos="100000">
                      <a:schemeClr val="tx2"/>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gradFill>
                  <a:gsLst>
                    <a:gs pos="0">
                      <a:schemeClr val="tx1"/>
                    </a:gs>
                    <a:gs pos="100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p:spPr>
        <p:txBody>
          <a:bodyPr anchor="ctr" anchorCtr="0">
            <a:noAutofit/>
          </a:bodyPr>
          <a:lstStyle>
            <a:lvl1pPr algn="ctr">
              <a:defRPr>
                <a:gradFill>
                  <a:gsLst>
                    <a:gs pos="0">
                      <a:schemeClr val="bg1"/>
                    </a:gs>
                    <a:gs pos="100000">
                      <a:schemeClr val="bg1"/>
                    </a:gs>
                  </a:gsLst>
                  <a:lin ang="5400000" scaled="1"/>
                </a:gra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9000"/>
            <a:ext cx="4822952" cy="498799"/>
          </a:xfrm>
          <a:prstGeom prst="rect">
            <a:avLst/>
          </a:prstGeom>
        </p:spPr>
        <p:txBody>
          <a:bodyPr lIns="0" tIns="0" rIns="0" bIns="0"/>
          <a:lstStyle>
            <a:lvl1pPr marL="0" indent="0">
              <a:lnSpc>
                <a:spcPts val="1765"/>
              </a:lnSpc>
              <a:spcBef>
                <a:spcPts val="1176"/>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0">
                      <a:schemeClr val="tx2"/>
                    </a:gs>
                    <a:gs pos="100000">
                      <a:schemeClr val="tx2"/>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570930950"/>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028961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59373783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130013533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79020611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424991152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92939130"/>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244818072"/>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45204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4004451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238270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gradFill>
                  <a:gsLst>
                    <a:gs pos="0">
                      <a:schemeClr val="tx2"/>
                    </a:gs>
                    <a:gs pos="100000">
                      <a:schemeClr val="tx2"/>
                    </a:gs>
                  </a:gsLst>
                  <a:lin ang="5400000" scaled="1"/>
                </a:gra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gradFill>
                  <a:gsLst>
                    <a:gs pos="0">
                      <a:schemeClr val="tx2"/>
                    </a:gs>
                    <a:gs pos="100000">
                      <a:schemeClr val="tx2"/>
                    </a:gs>
                  </a:gsLst>
                  <a:lin ang="5400000" scaled="1"/>
                </a:gra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gradFill>
                  <a:gsLst>
                    <a:gs pos="0">
                      <a:schemeClr val="bg1"/>
                    </a:gs>
                    <a:gs pos="100000">
                      <a:schemeClr val="bg1"/>
                    </a:gs>
                  </a:gsLst>
                  <a:lin ang="5400000" scaled="1"/>
                </a:gra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gradFill>
                  <a:gsLst>
                    <a:gs pos="0">
                      <a:schemeClr val="bg1"/>
                    </a:gs>
                    <a:gs pos="100000">
                      <a:schemeClr val="bg1"/>
                    </a:gs>
                  </a:gsLst>
                  <a:lin ang="5400000" scaled="1"/>
                </a:gra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gradFill>
                  <a:gsLst>
                    <a:gs pos="0">
                      <a:schemeClr val="bg1"/>
                    </a:gs>
                    <a:gs pos="100000">
                      <a:schemeClr val="bg1"/>
                    </a:gs>
                  </a:gsLst>
                  <a:lin ang="5400000" scaled="1"/>
                </a:gra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1542486057"/>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4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040438660"/>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408775226"/>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276999"/>
          </a:xfrm>
        </p:spPr>
        <p:txBody>
          <a:bodyPr/>
          <a:lstStyle>
            <a:lvl1pPr marL="0" indent="0" algn="ctr">
              <a:buNone/>
              <a:defRPr kumimoji="0" lang="en-US" sz="18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091803683"/>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39783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0414629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014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1961623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1815C6-564C-4C28-9B39-5913B392089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E393E15-9308-4A69-A434-75027346601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ADEAFB6-B6C0-4761-BCFF-43942C585458}"/>
              </a:ext>
            </a:extLst>
          </p:cNvPr>
          <p:cNvSpPr>
            <a:spLocks noGrp="1"/>
          </p:cNvSpPr>
          <p:nvPr>
            <p:ph type="dt" sz="half" idx="10"/>
          </p:nvPr>
        </p:nvSpPr>
        <p:spPr/>
        <p:txBody>
          <a:bodyPr/>
          <a:lstStyle/>
          <a:p>
            <a:fld id="{AB418EC6-A7C0-45EC-9569-8900DE822755}" type="datetimeFigureOut">
              <a:rPr lang="en-US" smtClean="0"/>
              <a:t>3/29/2021</a:t>
            </a:fld>
            <a:endParaRPr lang="en-US"/>
          </a:p>
        </p:txBody>
      </p:sp>
      <p:sp>
        <p:nvSpPr>
          <p:cNvPr id="5" name="Footer Placeholder 4">
            <a:extLst>
              <a:ext uri="{FF2B5EF4-FFF2-40B4-BE49-F238E27FC236}">
                <a16:creationId xmlns:a16="http://schemas.microsoft.com/office/drawing/2014/main" id="{91C4D7F9-F41F-4B1E-A905-3D4035409A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83BE494-8370-4550-9204-72B7CCBC56AD}"/>
              </a:ext>
            </a:extLst>
          </p:cNvPr>
          <p:cNvSpPr>
            <a:spLocks noGrp="1"/>
          </p:cNvSpPr>
          <p:nvPr>
            <p:ph type="sldNum" sz="quarter" idx="12"/>
          </p:nvPr>
        </p:nvSpPr>
        <p:spPr/>
        <p:txBody>
          <a:bodyPr/>
          <a:lstStyle/>
          <a:p>
            <a:fld id="{D8D1F8D1-C7FB-46BF-B328-D0A207C11741}" type="slidenum">
              <a:rPr lang="en-US" smtClean="0"/>
              <a:t>‹#›</a:t>
            </a:fld>
            <a:endParaRPr lang="en-US"/>
          </a:p>
        </p:txBody>
      </p:sp>
    </p:spTree>
    <p:extLst>
      <p:ext uri="{BB962C8B-B14F-4D97-AF65-F5344CB8AC3E}">
        <p14:creationId xmlns:p14="http://schemas.microsoft.com/office/powerpoint/2010/main" val="305045746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5874751"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5874751"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25" name="Picture 24">
            <a:extLst>
              <a:ext uri="{FF2B5EF4-FFF2-40B4-BE49-F238E27FC236}">
                <a16:creationId xmlns:a16="http://schemas.microsoft.com/office/drawing/2014/main" id="{DD6F765C-BA87-4024-A0EA-D44C275128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28" name="Picture Placeholder 27">
            <a:extLst>
              <a:ext uri="{FF2B5EF4-FFF2-40B4-BE49-F238E27FC236}">
                <a16:creationId xmlns:a16="http://schemas.microsoft.com/office/drawing/2014/main" id="{F115ABEF-D43C-4943-82B6-BC159FC73908}"/>
              </a:ext>
            </a:extLst>
          </p:cNvPr>
          <p:cNvSpPr>
            <a:spLocks noGrp="1"/>
          </p:cNvSpPr>
          <p:nvPr>
            <p:ph type="pic" sz="quarter" idx="16"/>
          </p:nvPr>
        </p:nvSpPr>
        <p:spPr>
          <a:xfrm>
            <a:off x="6161365" y="793822"/>
            <a:ext cx="2096326" cy="1618774"/>
          </a:xfrm>
          <a:solidFill>
            <a:schemeClr val="tx2"/>
          </a:solidFill>
        </p:spPr>
        <p:txBody>
          <a:bodyPr anchor="b" anchorCtr="1">
            <a:noAutofit/>
          </a:bodyPr>
          <a:lstStyle/>
          <a:p>
            <a:endParaRPr lang="en-US"/>
          </a:p>
        </p:txBody>
      </p:sp>
      <p:sp>
        <p:nvSpPr>
          <p:cNvPr id="29" name="Picture Placeholder 27">
            <a:extLst>
              <a:ext uri="{FF2B5EF4-FFF2-40B4-BE49-F238E27FC236}">
                <a16:creationId xmlns:a16="http://schemas.microsoft.com/office/drawing/2014/main" id="{AA47FD53-1E53-4FDE-94A4-B6A5469787D2}"/>
              </a:ext>
            </a:extLst>
          </p:cNvPr>
          <p:cNvSpPr>
            <a:spLocks noGrp="1"/>
          </p:cNvSpPr>
          <p:nvPr>
            <p:ph type="pic" sz="quarter" idx="17"/>
          </p:nvPr>
        </p:nvSpPr>
        <p:spPr>
          <a:xfrm>
            <a:off x="8472758" y="793822"/>
            <a:ext cx="2096326" cy="1618774"/>
          </a:xfrm>
          <a:solidFill>
            <a:schemeClr val="tx2"/>
          </a:solidFill>
        </p:spPr>
        <p:txBody>
          <a:bodyPr anchor="b" anchorCtr="1">
            <a:noAutofit/>
          </a:bodyPr>
          <a:lstStyle/>
          <a:p>
            <a:endParaRPr lang="en-US"/>
          </a:p>
        </p:txBody>
      </p:sp>
      <p:sp>
        <p:nvSpPr>
          <p:cNvPr id="30" name="Picture Placeholder 27">
            <a:extLst>
              <a:ext uri="{FF2B5EF4-FFF2-40B4-BE49-F238E27FC236}">
                <a16:creationId xmlns:a16="http://schemas.microsoft.com/office/drawing/2014/main" id="{E251C08D-157D-49F9-81E7-B96806AE1099}"/>
              </a:ext>
            </a:extLst>
          </p:cNvPr>
          <p:cNvSpPr>
            <a:spLocks noGrp="1"/>
          </p:cNvSpPr>
          <p:nvPr>
            <p:ph type="pic" sz="quarter" idx="18"/>
          </p:nvPr>
        </p:nvSpPr>
        <p:spPr>
          <a:xfrm>
            <a:off x="7203560" y="4460417"/>
            <a:ext cx="2096326" cy="1618774"/>
          </a:xfrm>
          <a:solidFill>
            <a:schemeClr val="tx2"/>
          </a:solidFill>
        </p:spPr>
        <p:txBody>
          <a:bodyPr anchor="b" anchorCtr="1">
            <a:noAutofit/>
          </a:bodyPr>
          <a:lstStyle/>
          <a:p>
            <a:endParaRPr lang="en-US"/>
          </a:p>
        </p:txBody>
      </p:sp>
      <p:sp>
        <p:nvSpPr>
          <p:cNvPr id="31" name="Picture Placeholder 27">
            <a:extLst>
              <a:ext uri="{FF2B5EF4-FFF2-40B4-BE49-F238E27FC236}">
                <a16:creationId xmlns:a16="http://schemas.microsoft.com/office/drawing/2014/main" id="{72A7D44E-978B-43E5-9BC0-A9F9EE7738C9}"/>
              </a:ext>
            </a:extLst>
          </p:cNvPr>
          <p:cNvSpPr>
            <a:spLocks noGrp="1"/>
          </p:cNvSpPr>
          <p:nvPr>
            <p:ph type="pic" sz="quarter" idx="19"/>
          </p:nvPr>
        </p:nvSpPr>
        <p:spPr>
          <a:xfrm>
            <a:off x="9514953" y="4460417"/>
            <a:ext cx="2096326" cy="1618774"/>
          </a:xfrm>
          <a:solidFill>
            <a:schemeClr val="tx2"/>
          </a:solidFill>
        </p:spPr>
        <p:txBody>
          <a:bodyPr anchor="b" anchorCtr="1">
            <a:noAutofit/>
          </a:bodyPr>
          <a:lstStyle/>
          <a:p>
            <a:endParaRPr lang="en-US"/>
          </a:p>
        </p:txBody>
      </p:sp>
      <p:sp>
        <p:nvSpPr>
          <p:cNvPr id="32" name="Picture Placeholder 27">
            <a:extLst>
              <a:ext uri="{FF2B5EF4-FFF2-40B4-BE49-F238E27FC236}">
                <a16:creationId xmlns:a16="http://schemas.microsoft.com/office/drawing/2014/main" id="{FFC800EB-936E-4743-B0BB-27566A34C2D7}"/>
              </a:ext>
            </a:extLst>
          </p:cNvPr>
          <p:cNvSpPr>
            <a:spLocks noGrp="1"/>
          </p:cNvSpPr>
          <p:nvPr>
            <p:ph type="pic" sz="quarter" idx="20"/>
          </p:nvPr>
        </p:nvSpPr>
        <p:spPr>
          <a:xfrm>
            <a:off x="5776786" y="2611744"/>
            <a:ext cx="2096326" cy="1618774"/>
          </a:xfrm>
          <a:solidFill>
            <a:schemeClr val="tx2"/>
          </a:solidFill>
        </p:spPr>
        <p:txBody>
          <a:bodyPr anchor="b" anchorCtr="1">
            <a:noAutofit/>
          </a:bodyPr>
          <a:lstStyle/>
          <a:p>
            <a:endParaRPr lang="en-US"/>
          </a:p>
        </p:txBody>
      </p:sp>
      <p:sp>
        <p:nvSpPr>
          <p:cNvPr id="33" name="Picture Placeholder 27">
            <a:extLst>
              <a:ext uri="{FF2B5EF4-FFF2-40B4-BE49-F238E27FC236}">
                <a16:creationId xmlns:a16="http://schemas.microsoft.com/office/drawing/2014/main" id="{9F092611-3E78-46B1-BA8A-97F767E93167}"/>
              </a:ext>
            </a:extLst>
          </p:cNvPr>
          <p:cNvSpPr>
            <a:spLocks noGrp="1"/>
          </p:cNvSpPr>
          <p:nvPr>
            <p:ph type="pic" sz="quarter" idx="21"/>
          </p:nvPr>
        </p:nvSpPr>
        <p:spPr>
          <a:xfrm>
            <a:off x="8061123" y="2611744"/>
            <a:ext cx="2096326" cy="1618774"/>
          </a:xfrm>
          <a:solidFill>
            <a:schemeClr val="tx2"/>
          </a:solidFill>
        </p:spPr>
        <p:txBody>
          <a:bodyPr anchor="b" anchorCtr="1">
            <a:noAutofit/>
          </a:bodyPr>
          <a:lstStyle/>
          <a:p>
            <a:endParaRPr lang="en-US"/>
          </a:p>
        </p:txBody>
      </p:sp>
      <p:sp>
        <p:nvSpPr>
          <p:cNvPr id="34" name="Picture Placeholder 27">
            <a:extLst>
              <a:ext uri="{FF2B5EF4-FFF2-40B4-BE49-F238E27FC236}">
                <a16:creationId xmlns:a16="http://schemas.microsoft.com/office/drawing/2014/main" id="{CFCBDAA1-18C9-4D7C-B4F2-F169EEF5C655}"/>
              </a:ext>
            </a:extLst>
          </p:cNvPr>
          <p:cNvSpPr>
            <a:spLocks noGrp="1"/>
          </p:cNvSpPr>
          <p:nvPr>
            <p:ph type="pic" sz="quarter" idx="22"/>
          </p:nvPr>
        </p:nvSpPr>
        <p:spPr>
          <a:xfrm>
            <a:off x="10345460" y="2611744"/>
            <a:ext cx="2096326" cy="1618774"/>
          </a:xfrm>
          <a:solidFill>
            <a:schemeClr val="tx2"/>
          </a:solidFill>
        </p:spPr>
        <p:txBody>
          <a:bodyPr anchor="b" anchorCtr="1">
            <a:noAutofit/>
          </a:bodyPr>
          <a:lstStyle/>
          <a:p>
            <a:endParaRPr lang="en-US"/>
          </a:p>
        </p:txBody>
      </p:sp>
    </p:spTree>
    <p:extLst>
      <p:ext uri="{BB962C8B-B14F-4D97-AF65-F5344CB8AC3E}">
        <p14:creationId xmlns:p14="http://schemas.microsoft.com/office/powerpoint/2010/main" val="11016387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750"/>
                                        <p:tgtEl>
                                          <p:spTgt spid="28"/>
                                        </p:tgtEl>
                                      </p:cBhvr>
                                    </p:animEffect>
                                  </p:childTnLst>
                                </p:cTn>
                              </p:par>
                              <p:par>
                                <p:cTn id="8" presetID="42" presetClass="path" presetSubtype="0" decel="100000" fill="hold" grpId="1" nodeType="withEffect">
                                  <p:stCondLst>
                                    <p:cond delay="50"/>
                                  </p:stCondLst>
                                  <p:childTnLst>
                                    <p:animMotion origin="layout" path="M 1.17182E-6 -2.12892E-6 L 0.04353 -2.12892E-6 " pathEditMode="relative" rAng="0" ptsTypes="AA">
                                      <p:cBhvr>
                                        <p:cTn id="9" dur="750" spd="-100000" fill="hold"/>
                                        <p:tgtEl>
                                          <p:spTgt spid="28"/>
                                        </p:tgtEl>
                                        <p:attrNameLst>
                                          <p:attrName>ppt_x</p:attrName>
                                          <p:attrName>ppt_y</p:attrName>
                                        </p:attrNameLst>
                                      </p:cBhvr>
                                      <p:rCtr x="2170" y="0"/>
                                    </p:animMotion>
                                  </p:childTnLst>
                                </p:cTn>
                              </p:par>
                              <p:par>
                                <p:cTn id="10" presetID="10" presetClass="entr" presetSubtype="0" fill="hold" grpId="0" nodeType="withEffect">
                                  <p:stCondLst>
                                    <p:cond delay="15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750"/>
                                        <p:tgtEl>
                                          <p:spTgt spid="29"/>
                                        </p:tgtEl>
                                      </p:cBhvr>
                                    </p:animEffect>
                                  </p:childTnLst>
                                </p:cTn>
                              </p:par>
                              <p:par>
                                <p:cTn id="13" presetID="42" presetClass="path" presetSubtype="0" decel="100000" fill="hold" grpId="1" nodeType="withEffect">
                                  <p:stCondLst>
                                    <p:cond delay="150"/>
                                  </p:stCondLst>
                                  <p:childTnLst>
                                    <p:animMotion origin="layout" path="M 1.17182E-6 -2.12892E-6 L 0.04353 -2.12892E-6 " pathEditMode="relative" rAng="0" ptsTypes="AA">
                                      <p:cBhvr>
                                        <p:cTn id="14" dur="750" spd="-100000" fill="hold"/>
                                        <p:tgtEl>
                                          <p:spTgt spid="29"/>
                                        </p:tgtEl>
                                        <p:attrNameLst>
                                          <p:attrName>ppt_x</p:attrName>
                                          <p:attrName>ppt_y</p:attrName>
                                        </p:attrNameLst>
                                      </p:cBhvr>
                                      <p:rCtr x="2170" y="0"/>
                                    </p:animMotion>
                                  </p:childTnLst>
                                </p:cTn>
                              </p:par>
                              <p:par>
                                <p:cTn id="15" presetID="10"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750"/>
                                        <p:tgtEl>
                                          <p:spTgt spid="32"/>
                                        </p:tgtEl>
                                      </p:cBhvr>
                                    </p:animEffect>
                                  </p:childTnLst>
                                </p:cTn>
                              </p:par>
                              <p:par>
                                <p:cTn id="18" presetID="42" presetClass="path" presetSubtype="0" decel="100000" fill="hold" grpId="1" nodeType="withEffect">
                                  <p:stCondLst>
                                    <p:cond delay="0"/>
                                  </p:stCondLst>
                                  <p:childTnLst>
                                    <p:animMotion origin="layout" path="M 1.17182E-6 -2.12892E-6 L 0.04353 -2.12892E-6 " pathEditMode="relative" rAng="0" ptsTypes="AA">
                                      <p:cBhvr>
                                        <p:cTn id="19" dur="750" spd="-100000" fill="hold"/>
                                        <p:tgtEl>
                                          <p:spTgt spid="32"/>
                                        </p:tgtEl>
                                        <p:attrNameLst>
                                          <p:attrName>ppt_x</p:attrName>
                                          <p:attrName>ppt_y</p:attrName>
                                        </p:attrNameLst>
                                      </p:cBhvr>
                                      <p:rCtr x="2170" y="0"/>
                                    </p:animMotion>
                                  </p:childTnLst>
                                </p:cTn>
                              </p:par>
                              <p:par>
                                <p:cTn id="20" presetID="10" presetClass="entr" presetSubtype="0" fill="hold" grpId="0" nodeType="withEffect">
                                  <p:stCondLst>
                                    <p:cond delay="15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750"/>
                                        <p:tgtEl>
                                          <p:spTgt spid="33"/>
                                        </p:tgtEl>
                                      </p:cBhvr>
                                    </p:animEffect>
                                  </p:childTnLst>
                                </p:cTn>
                              </p:par>
                              <p:par>
                                <p:cTn id="23" presetID="42" presetClass="path" presetSubtype="0" decel="100000" fill="hold" grpId="1" nodeType="withEffect">
                                  <p:stCondLst>
                                    <p:cond delay="150"/>
                                  </p:stCondLst>
                                  <p:childTnLst>
                                    <p:animMotion origin="layout" path="M 1.17182E-6 -2.12892E-6 L 0.04353 -2.12892E-6 " pathEditMode="relative" rAng="0" ptsTypes="AA">
                                      <p:cBhvr>
                                        <p:cTn id="24" dur="750" spd="-100000" fill="hold"/>
                                        <p:tgtEl>
                                          <p:spTgt spid="33"/>
                                        </p:tgtEl>
                                        <p:attrNameLst>
                                          <p:attrName>ppt_x</p:attrName>
                                          <p:attrName>ppt_y</p:attrName>
                                        </p:attrNameLst>
                                      </p:cBhvr>
                                      <p:rCtr x="2170" y="0"/>
                                    </p:animMotion>
                                  </p:childTnLst>
                                </p:cTn>
                              </p:par>
                              <p:par>
                                <p:cTn id="25" presetID="10" presetClass="entr" presetSubtype="0" fill="hold" grpId="0" nodeType="withEffect">
                                  <p:stCondLst>
                                    <p:cond delay="25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750"/>
                                        <p:tgtEl>
                                          <p:spTgt spid="34"/>
                                        </p:tgtEl>
                                      </p:cBhvr>
                                    </p:animEffect>
                                  </p:childTnLst>
                                </p:cTn>
                              </p:par>
                              <p:par>
                                <p:cTn id="28" presetID="42" presetClass="path" presetSubtype="0" decel="100000" fill="hold" grpId="1" nodeType="withEffect">
                                  <p:stCondLst>
                                    <p:cond delay="250"/>
                                  </p:stCondLst>
                                  <p:childTnLst>
                                    <p:animMotion origin="layout" path="M 1.17182E-6 -2.12892E-6 L 0.04353 -2.12892E-6 " pathEditMode="relative" rAng="0" ptsTypes="AA">
                                      <p:cBhvr>
                                        <p:cTn id="29" dur="750" spd="-100000" fill="hold"/>
                                        <p:tgtEl>
                                          <p:spTgt spid="34"/>
                                        </p:tgtEl>
                                        <p:attrNameLst>
                                          <p:attrName>ppt_x</p:attrName>
                                          <p:attrName>ppt_y</p:attrName>
                                        </p:attrNameLst>
                                      </p:cBhvr>
                                      <p:rCtr x="2170" y="0"/>
                                    </p:animMotion>
                                  </p:childTnLst>
                                </p:cTn>
                              </p:par>
                              <p:par>
                                <p:cTn id="30" presetID="10" presetClass="entr" presetSubtype="0" fill="hold" grpId="0" nodeType="withEffect">
                                  <p:stCondLst>
                                    <p:cond delay="5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750"/>
                                        <p:tgtEl>
                                          <p:spTgt spid="30"/>
                                        </p:tgtEl>
                                      </p:cBhvr>
                                    </p:animEffect>
                                  </p:childTnLst>
                                </p:cTn>
                              </p:par>
                              <p:par>
                                <p:cTn id="33" presetID="42" presetClass="path" presetSubtype="0" decel="100000" fill="hold" grpId="1" nodeType="withEffect">
                                  <p:stCondLst>
                                    <p:cond delay="50"/>
                                  </p:stCondLst>
                                  <p:childTnLst>
                                    <p:animMotion origin="layout" path="M 1.17182E-6 -2.12892E-6 L 0.04353 -2.12892E-6 " pathEditMode="relative" rAng="0" ptsTypes="AA">
                                      <p:cBhvr>
                                        <p:cTn id="34" dur="750" spd="-100000" fill="hold"/>
                                        <p:tgtEl>
                                          <p:spTgt spid="30"/>
                                        </p:tgtEl>
                                        <p:attrNameLst>
                                          <p:attrName>ppt_x</p:attrName>
                                          <p:attrName>ppt_y</p:attrName>
                                        </p:attrNameLst>
                                      </p:cBhvr>
                                      <p:rCtr x="2170" y="0"/>
                                    </p:animMotion>
                                  </p:childTnLst>
                                </p:cTn>
                              </p:par>
                              <p:par>
                                <p:cTn id="35" presetID="10" presetClass="entr" presetSubtype="0" fill="hold" grpId="0" nodeType="withEffect">
                                  <p:stCondLst>
                                    <p:cond delay="15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750"/>
                                        <p:tgtEl>
                                          <p:spTgt spid="31"/>
                                        </p:tgtEl>
                                      </p:cBhvr>
                                    </p:animEffect>
                                  </p:childTnLst>
                                </p:cTn>
                              </p:par>
                              <p:par>
                                <p:cTn id="38" presetID="42" presetClass="path" presetSubtype="0" decel="100000" fill="hold" grpId="1" nodeType="withEffect">
                                  <p:stCondLst>
                                    <p:cond delay="150"/>
                                  </p:stCondLst>
                                  <p:childTnLst>
                                    <p:animMotion origin="layout" path="M 1.17182E-6 -2.12892E-6 L 0.04353 -2.12892E-6 " pathEditMode="relative" rAng="0" ptsTypes="AA">
                                      <p:cBhvr>
                                        <p:cTn id="39" dur="750" spd="-100000" fill="hold"/>
                                        <p:tgtEl>
                                          <p:spTgt spid="31"/>
                                        </p:tgtEl>
                                        <p:attrNameLst>
                                          <p:attrName>ppt_x</p:attrName>
                                          <p:attrName>ppt_y</p:attrName>
                                        </p:attrNameLst>
                                      </p:cBhvr>
                                      <p:rCtr x="21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78256328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gradFill>
                  <a:gsLst>
                    <a:gs pos="0">
                      <a:schemeClr val="tx1"/>
                    </a:gs>
                    <a:gs pos="100000">
                      <a:schemeClr val="tx1"/>
                    </a:gs>
                  </a:gsLst>
                  <a:lin ang="5400000" scaled="1"/>
                </a:gra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41731"/>
            <a:ext cx="5834041" cy="905308"/>
          </a:xfrm>
          <a:prstGeom prst="rect">
            <a:avLst/>
          </a:prstGeom>
        </p:spPr>
        <p:txBody>
          <a:bodyPr anchor="ctr" anchorCtr="0"/>
          <a:lstStyle>
            <a:lvl1pPr algn="ctr">
              <a:defRPr>
                <a:gradFill>
                  <a:gsLst>
                    <a:gs pos="0">
                      <a:schemeClr val="tx1"/>
                    </a:gs>
                    <a:gs pos="100000">
                      <a:schemeClr val="tx1"/>
                    </a:gs>
                  </a:gsLst>
                  <a:lin ang="5400000" scaled="1"/>
                </a:gra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Tree>
    <p:extLst>
      <p:ext uri="{BB962C8B-B14F-4D97-AF65-F5344CB8AC3E}">
        <p14:creationId xmlns:p14="http://schemas.microsoft.com/office/powerpoint/2010/main" val="2882696301"/>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4134495276"/>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30725452"/>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Title Slide 6">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06666B8-50C7-4992-A344-31FE42F94A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9" name="Picture 8">
            <a:extLst>
              <a:ext uri="{FF2B5EF4-FFF2-40B4-BE49-F238E27FC236}">
                <a16:creationId xmlns:a16="http://schemas.microsoft.com/office/drawing/2014/main" id="{8CCD8A32-672C-450E-BF26-7AF0C2F883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Tree>
    <p:extLst>
      <p:ext uri="{BB962C8B-B14F-4D97-AF65-F5344CB8AC3E}">
        <p14:creationId xmlns:p14="http://schemas.microsoft.com/office/powerpoint/2010/main" val="3526945524"/>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438615413"/>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385690044"/>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gradFill>
                  <a:gsLst>
                    <a:gs pos="0">
                      <a:schemeClr val="tx1"/>
                    </a:gs>
                    <a:gs pos="100000">
                      <a:schemeClr val="tx1"/>
                    </a:gs>
                  </a:gsLst>
                  <a:lin ang="5400000" scaled="1"/>
                </a:gra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18145603"/>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2127221"/>
          </a:xfrm>
        </p:spPr>
        <p:txBody>
          <a:bodyPr wrap="square">
            <a:spAutoFit/>
          </a:bodyPr>
          <a:lstStyle>
            <a:lvl1pPr marL="0" indent="0">
              <a:spcBef>
                <a:spcPts val="1124"/>
              </a:spcBef>
              <a:buClr>
                <a:schemeClr val="tx1"/>
              </a:buClr>
              <a:buFont typeface="Wingdings" pitchFamily="2" charset="2"/>
              <a:buNone/>
              <a:defRPr sz="3308">
                <a:gradFill>
                  <a:gsLst>
                    <a:gs pos="1250">
                      <a:schemeClr val="tx2"/>
                    </a:gs>
                    <a:gs pos="99000">
                      <a:schemeClr val="tx2"/>
                    </a:gs>
                  </a:gsLst>
                  <a:lin ang="5400000" scaled="0"/>
                </a:gradFill>
              </a:defRPr>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127221"/>
          </a:xfrm>
        </p:spPr>
        <p:txBody>
          <a:bodyPr wrap="square">
            <a:spAutoFit/>
          </a:bodyPr>
          <a:lstStyle>
            <a:lvl1pPr marL="0" indent="0">
              <a:spcBef>
                <a:spcPts val="1124"/>
              </a:spcBef>
              <a:buClr>
                <a:schemeClr val="tx1"/>
              </a:buClr>
              <a:buFont typeface="Wingdings" pitchFamily="2" charset="2"/>
              <a:buNone/>
              <a:defRPr sz="3308">
                <a:gradFill>
                  <a:gsLst>
                    <a:gs pos="1250">
                      <a:schemeClr val="tx2"/>
                    </a:gs>
                    <a:gs pos="99000">
                      <a:schemeClr val="tx2"/>
                    </a:gs>
                  </a:gsLst>
                  <a:lin ang="5400000" scaled="0"/>
                </a:gradFill>
              </a:defRPr>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90884412"/>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9858808" cy="1794661"/>
          </a:xfrm>
          <a:noFill/>
        </p:spPr>
        <p:txBody>
          <a:bodyPr lIns="146304" tIns="109728" rIns="146304" bIns="109728">
            <a:noAutofit/>
          </a:bodyPr>
          <a:lstStyle>
            <a:lvl1pPr marL="0" indent="0">
              <a:spcBef>
                <a:spcPts val="0"/>
              </a:spcBef>
              <a:buNone/>
              <a:defRPr sz="330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513" spc="-92" baseline="0">
                <a:gradFill>
                  <a:gsLst>
                    <a:gs pos="3333">
                      <a:schemeClr val="tx1"/>
                    </a:gs>
                    <a:gs pos="39000">
                      <a:schemeClr val="tx1"/>
                    </a:gs>
                  </a:gsLst>
                  <a:lin ang="5400000" scaled="0"/>
                </a:gradFill>
              </a:defRPr>
            </a:lvl1pPr>
          </a:lstStyle>
          <a:p>
            <a:r>
              <a:rPr lang="en-US"/>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207201" y="470411"/>
            <a:ext cx="1522404" cy="326167"/>
          </a:xfrm>
          <a:prstGeom prst="rect">
            <a:avLst/>
          </a:prstGeom>
        </p:spPr>
      </p:pic>
      <p:sp>
        <p:nvSpPr>
          <p:cNvPr id="7"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6" name="Text Placeholder 5"/>
          <p:cNvSpPr>
            <a:spLocks noGrp="1"/>
          </p:cNvSpPr>
          <p:nvPr>
            <p:ph type="body" sz="quarter" idx="13" hasCustomPrompt="1"/>
          </p:nvPr>
        </p:nvSpPr>
        <p:spPr>
          <a:xfrm>
            <a:off x="269239" y="470413"/>
            <a:ext cx="3047874" cy="439223"/>
          </a:xfrm>
        </p:spPr>
        <p:txBody>
          <a:bodyPr/>
          <a:lstStyle>
            <a:lvl1pPr marL="0" indent="0">
              <a:buNone/>
              <a:defRPr sz="1838"/>
            </a:lvl1pPr>
          </a:lstStyle>
          <a:p>
            <a:pPr lvl="0"/>
            <a:r>
              <a:rPr lang="en-US"/>
              <a:t>Session Code Here</a:t>
            </a:r>
          </a:p>
        </p:txBody>
      </p:sp>
    </p:spTree>
    <p:extLst>
      <p:ext uri="{BB962C8B-B14F-4D97-AF65-F5344CB8AC3E}">
        <p14:creationId xmlns:p14="http://schemas.microsoft.com/office/powerpoint/2010/main" val="34368381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2350">
          <p15:clr>
            <a:srgbClr val="FBAE40"/>
          </p15:clr>
        </p15:guide>
        <p15:guide id="2" pos="3917">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221012" y="6057329"/>
            <a:ext cx="1522404" cy="326167"/>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1177221" y="1728540"/>
            <a:ext cx="7178269" cy="3156826"/>
          </a:xfrm>
          <a:prstGeom prst="rect">
            <a:avLst/>
          </a:prstGeom>
        </p:spPr>
      </p:pic>
    </p:spTree>
    <p:extLst>
      <p:ext uri="{BB962C8B-B14F-4D97-AF65-F5344CB8AC3E}">
        <p14:creationId xmlns:p14="http://schemas.microsoft.com/office/powerpoint/2010/main" val="19023319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6"/>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5" rIns="168056" bIns="134445" numCol="1" spcCol="0" rtlCol="0" fromWordArt="0" anchor="t" anchorCtr="0" forceAA="0" compatLnSpc="1">
            <a:prstTxWarp prst="textNoShape">
              <a:avLst/>
            </a:prstTxWarp>
            <a:noAutofit/>
          </a:bodyPr>
          <a:lstStyle/>
          <a:p>
            <a:pPr algn="ctr" defTabSz="856807" fontAlgn="base">
              <a:lnSpc>
                <a:spcPct val="90000"/>
              </a:lnSpc>
              <a:spcBef>
                <a:spcPct val="0"/>
              </a:spcBef>
              <a:spcAft>
                <a:spcPct val="0"/>
              </a:spcAft>
              <a:defRPr/>
            </a:pPr>
            <a:endParaRPr lang="en-US" sz="2206"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6616" spc="-92"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9"/>
            <a:ext cx="9860674" cy="1793881"/>
          </a:xfrm>
          <a:noFill/>
        </p:spPr>
        <p:txBody>
          <a:bodyPr lIns="182880" tIns="146304" rIns="182880" bIns="146304">
            <a:noAutofit/>
          </a:bodyPr>
          <a:lstStyle>
            <a:lvl1pPr marL="0" indent="0">
              <a:spcBef>
                <a:spcPts val="0"/>
              </a:spcBef>
              <a:buNone/>
              <a:defRPr sz="3308" spc="0" baseline="0">
                <a:gradFill>
                  <a:gsLst>
                    <a:gs pos="0">
                      <a:schemeClr val="tx1"/>
                    </a:gs>
                    <a:gs pos="100000">
                      <a:schemeClr val="tx1"/>
                    </a:gs>
                  </a:gsLst>
                  <a:lin ang="5400000" scaled="0"/>
                </a:gradFill>
                <a:latin typeface="+mj-lt"/>
              </a:defRPr>
            </a:lvl1pPr>
          </a:lstStyle>
          <a:p>
            <a:pPr lvl="0"/>
            <a:r>
              <a:rPr lang="en-US"/>
              <a:t>Speaker Name</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472216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41731"/>
            <a:ext cx="5834041" cy="905308"/>
          </a:xfrm>
          <a:prstGeom prst="rect">
            <a:avLst/>
          </a:prstGeom>
        </p:spPr>
        <p:txBody>
          <a:bodyPr anchor="ctr" anchorCtr="0"/>
          <a:lstStyle>
            <a:lvl1pPr algn="ctr">
              <a:defRPr>
                <a:gradFill>
                  <a:gsLst>
                    <a:gs pos="0">
                      <a:schemeClr val="tx1"/>
                    </a:gs>
                    <a:gs pos="100000">
                      <a:schemeClr val="tx1"/>
                    </a:gs>
                  </a:gsLst>
                  <a:lin ang="5400000" scaled="1"/>
                </a:gra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gradFill>
                  <a:gsLst>
                    <a:gs pos="0">
                      <a:schemeClr val="tx2"/>
                    </a:gs>
                    <a:gs pos="100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7"/>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gradFill>
                  <a:gsLst>
                    <a:gs pos="0">
                      <a:schemeClr val="tx1"/>
                    </a:gs>
                    <a:gs pos="100000">
                      <a:schemeClr val="tx1"/>
                    </a:gs>
                  </a:gsLst>
                  <a:lin ang="5400000" scaled="1"/>
                </a:gra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057366699"/>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5" rIns="168056" bIns="134445" numCol="1" spcCol="0" rtlCol="0" fromWordArt="0" anchor="t" anchorCtr="0" forceAA="0" compatLnSpc="1">
            <a:prstTxWarp prst="textNoShape">
              <a:avLst/>
            </a:prstTxWarp>
            <a:noAutofit/>
          </a:bodyPr>
          <a:lstStyle/>
          <a:p>
            <a:pPr algn="ctr" defTabSz="856807" fontAlgn="base">
              <a:lnSpc>
                <a:spcPct val="90000"/>
              </a:lnSpc>
              <a:spcBef>
                <a:spcPct val="0"/>
              </a:spcBef>
              <a:spcAft>
                <a:spcPct val="0"/>
              </a:spcAft>
              <a:defRPr/>
            </a:pPr>
            <a:endParaRPr lang="en-US" sz="2206"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6616" spc="-92" baseline="0">
                <a:gradFill>
                  <a:gsLst>
                    <a:gs pos="5833">
                      <a:srgbClr val="FFFFFF"/>
                    </a:gs>
                    <a:gs pos="18000">
                      <a:srgbClr val="FFFFFF"/>
                    </a:gs>
                  </a:gsLst>
                  <a:lin ang="5400000" scaled="0"/>
                </a:gradFill>
              </a:defRPr>
            </a:lvl1pPr>
          </a:lstStyle>
          <a:p>
            <a:r>
              <a:rPr lang="en-US"/>
              <a:t>Video title</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57398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086" spc="-92"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72098774"/>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086" spc="-92"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609065365"/>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086" spc="-92"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19022232"/>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9"/>
            <a:ext cx="11653523" cy="1864633"/>
          </a:xfrm>
        </p:spPr>
        <p:txBody>
          <a:bodyPr/>
          <a:lstStyle>
            <a:lvl1pPr marL="0" indent="0">
              <a:buNone/>
              <a:defRPr>
                <a:gradFill>
                  <a:gsLst>
                    <a:gs pos="1250">
                      <a:schemeClr val="tx2"/>
                    </a:gs>
                    <a:gs pos="99000">
                      <a:schemeClr val="tx2"/>
                    </a:gs>
                  </a:gsLst>
                  <a:lin ang="5400000" scaled="0"/>
                </a:gradFill>
              </a:defRPr>
            </a:lvl1pPr>
            <a:lvl2pPr marL="0" indent="0">
              <a:buFontTx/>
              <a:buNone/>
              <a:defRPr sz="1838"/>
            </a:lvl2pPr>
            <a:lvl3pPr marL="210051" indent="0">
              <a:buNone/>
              <a:defRPr/>
            </a:lvl3pPr>
            <a:lvl4pPr marL="420101" indent="0">
              <a:buNone/>
              <a:defRPr/>
            </a:lvl4pPr>
            <a:lvl5pPr marL="63015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90586883"/>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9"/>
            <a:ext cx="11653523" cy="1864633"/>
          </a:xfrm>
        </p:spPr>
        <p:txBody>
          <a:bodyPr/>
          <a:lstStyle>
            <a:lvl1pPr marL="0" indent="0">
              <a:buNone/>
              <a:defRPr>
                <a:gradFill>
                  <a:gsLst>
                    <a:gs pos="1250">
                      <a:schemeClr val="tx1"/>
                    </a:gs>
                    <a:gs pos="99000">
                      <a:schemeClr val="tx1"/>
                    </a:gs>
                  </a:gsLst>
                  <a:lin ang="5400000" scaled="0"/>
                </a:gradFill>
              </a:defRPr>
            </a:lvl1pPr>
            <a:lvl2pPr marL="0" indent="0">
              <a:buFontTx/>
              <a:buNone/>
              <a:defRPr sz="1838"/>
            </a:lvl2pPr>
            <a:lvl3pPr marL="210051" indent="0">
              <a:buNone/>
              <a:defRPr/>
            </a:lvl3pPr>
            <a:lvl4pPr marL="420101" indent="0">
              <a:buNone/>
              <a:defRPr/>
            </a:lvl4pPr>
            <a:lvl5pPr marL="63015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07590517"/>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92684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32504630"/>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926849"/>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323565293"/>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272016"/>
          </a:xfrm>
        </p:spPr>
        <p:txBody>
          <a:bodyPr wrap="square">
            <a:spAutoFit/>
          </a:bodyPr>
          <a:lstStyle>
            <a:lvl1pPr marL="0" indent="0">
              <a:spcBef>
                <a:spcPts val="1124"/>
              </a:spcBef>
              <a:buClr>
                <a:schemeClr val="tx1"/>
              </a:buClr>
              <a:buFont typeface="Wingdings" pitchFamily="2" charset="2"/>
              <a:buNone/>
              <a:defRPr sz="3308">
                <a:gradFill>
                  <a:gsLst>
                    <a:gs pos="1250">
                      <a:schemeClr val="tx2"/>
                    </a:gs>
                    <a:gs pos="99000">
                      <a:schemeClr val="tx2"/>
                    </a:gs>
                  </a:gsLst>
                  <a:lin ang="5400000" scaled="0"/>
                </a:gradFill>
              </a:defRPr>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72016"/>
          </a:xfrm>
        </p:spPr>
        <p:txBody>
          <a:bodyPr wrap="square">
            <a:spAutoFit/>
          </a:bodyPr>
          <a:lstStyle>
            <a:lvl1pPr marL="0" indent="0">
              <a:spcBef>
                <a:spcPts val="1124"/>
              </a:spcBef>
              <a:buClr>
                <a:schemeClr val="tx1"/>
              </a:buClr>
              <a:buFont typeface="Wingdings" pitchFamily="2" charset="2"/>
              <a:buNone/>
              <a:defRPr sz="3308">
                <a:gradFill>
                  <a:gsLst>
                    <a:gs pos="1250">
                      <a:schemeClr val="tx2"/>
                    </a:gs>
                    <a:gs pos="99000">
                      <a:schemeClr val="tx2"/>
                    </a:gs>
                  </a:gsLst>
                  <a:lin ang="5400000" scaled="0"/>
                </a:gradFill>
              </a:defRPr>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5217179"/>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272016"/>
          </a:xfrm>
        </p:spPr>
        <p:txBody>
          <a:bodyPr wrap="square">
            <a:spAutoFit/>
          </a:bodyPr>
          <a:lstStyle>
            <a:lvl1pPr marL="0" indent="0">
              <a:spcBef>
                <a:spcPts val="1124"/>
              </a:spcBef>
              <a:buClr>
                <a:schemeClr val="tx1"/>
              </a:buClr>
              <a:buFont typeface="Wingdings" pitchFamily="2" charset="2"/>
              <a:buNone/>
              <a:defRPr sz="3308"/>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72016"/>
          </a:xfrm>
        </p:spPr>
        <p:txBody>
          <a:bodyPr wrap="square">
            <a:spAutoFit/>
          </a:bodyPr>
          <a:lstStyle>
            <a:lvl1pPr marL="0" indent="0">
              <a:spcBef>
                <a:spcPts val="1124"/>
              </a:spcBef>
              <a:buClr>
                <a:schemeClr val="tx1"/>
              </a:buClr>
              <a:buFont typeface="Wingdings" pitchFamily="2" charset="2"/>
              <a:buNone/>
              <a:defRPr sz="3308"/>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2611582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gradFill>
                  <a:gsLst>
                    <a:gs pos="0">
                      <a:schemeClr val="tx1"/>
                    </a:gs>
                    <a:gs pos="100000">
                      <a:schemeClr val="tx1"/>
                    </a:gs>
                  </a:gsLst>
                  <a:lin ang="5400000" scaled="1"/>
                </a:gra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Tree>
    <p:extLst>
      <p:ext uri="{BB962C8B-B14F-4D97-AF65-F5344CB8AC3E}">
        <p14:creationId xmlns:p14="http://schemas.microsoft.com/office/powerpoint/2010/main" val="3398093132"/>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334233"/>
          </a:xfrm>
        </p:spPr>
        <p:txBody>
          <a:bodyPr wrap="square">
            <a:spAutoFit/>
          </a:bodyPr>
          <a:lstStyle>
            <a:lvl1pPr marL="264021" indent="-264021">
              <a:spcBef>
                <a:spcPts val="1124"/>
              </a:spcBef>
              <a:buClr>
                <a:schemeClr val="tx1"/>
              </a:buClr>
              <a:buFont typeface="Arial" pitchFamily="34" charset="0"/>
              <a:buChar char="•"/>
              <a:defRPr sz="3308"/>
            </a:lvl1pPr>
            <a:lvl2pPr marL="488064" indent="-214272">
              <a:defRPr sz="2206"/>
            </a:lvl2pPr>
            <a:lvl3pPr marL="642817" indent="-154752">
              <a:tabLst/>
              <a:defRPr sz="1838"/>
            </a:lvl3pPr>
            <a:lvl4pPr marL="809473" indent="-166656">
              <a:defRPr/>
            </a:lvl4pPr>
            <a:lvl5pPr marL="964225" indent="-1547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334233"/>
          </a:xfrm>
        </p:spPr>
        <p:txBody>
          <a:bodyPr wrap="square">
            <a:spAutoFit/>
          </a:bodyPr>
          <a:lstStyle>
            <a:lvl1pPr marL="264021" indent="-264021">
              <a:spcBef>
                <a:spcPts val="1124"/>
              </a:spcBef>
              <a:buClr>
                <a:schemeClr val="tx1"/>
              </a:buClr>
              <a:buFont typeface="Arial" pitchFamily="34" charset="0"/>
              <a:buChar char="•"/>
              <a:defRPr sz="3308"/>
            </a:lvl1pPr>
            <a:lvl2pPr marL="488064" indent="-214272">
              <a:defRPr sz="2206"/>
            </a:lvl2pPr>
            <a:lvl3pPr marL="642817" indent="-154752">
              <a:tabLst/>
              <a:defRPr sz="1838"/>
            </a:lvl3pPr>
            <a:lvl4pPr marL="809473" indent="-166656">
              <a:defRPr/>
            </a:lvl4pPr>
            <a:lvl5pPr marL="964225" indent="-1547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38610827"/>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334233"/>
          </a:xfrm>
        </p:spPr>
        <p:txBody>
          <a:bodyPr wrap="square">
            <a:spAutoFit/>
          </a:bodyPr>
          <a:lstStyle>
            <a:lvl1pPr marL="264021" indent="-264021">
              <a:spcBef>
                <a:spcPts val="1124"/>
              </a:spcBef>
              <a:buClr>
                <a:schemeClr val="tx2"/>
              </a:buClr>
              <a:buFont typeface="Arial" pitchFamily="34" charset="0"/>
              <a:buChar char="•"/>
              <a:defRPr sz="3308">
                <a:gradFill>
                  <a:gsLst>
                    <a:gs pos="1250">
                      <a:schemeClr val="tx2"/>
                    </a:gs>
                    <a:gs pos="99000">
                      <a:schemeClr val="tx2"/>
                    </a:gs>
                  </a:gsLst>
                  <a:lin ang="5400000" scaled="0"/>
                </a:gradFill>
              </a:defRPr>
            </a:lvl1pPr>
            <a:lvl2pPr marL="488064" indent="-214272">
              <a:defRPr sz="2206"/>
            </a:lvl2pPr>
            <a:lvl3pPr marL="642817" indent="-154752">
              <a:tabLst/>
              <a:defRPr sz="1838"/>
            </a:lvl3pPr>
            <a:lvl4pPr marL="809473" indent="-166656">
              <a:defRPr/>
            </a:lvl4pPr>
            <a:lvl5pPr marL="964225" indent="-1547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334233"/>
          </a:xfrm>
        </p:spPr>
        <p:txBody>
          <a:bodyPr wrap="square">
            <a:spAutoFit/>
          </a:bodyPr>
          <a:lstStyle>
            <a:lvl1pPr marL="264021" indent="-264021">
              <a:spcBef>
                <a:spcPts val="1124"/>
              </a:spcBef>
              <a:buClr>
                <a:schemeClr val="tx2"/>
              </a:buClr>
              <a:buFont typeface="Arial" pitchFamily="34" charset="0"/>
              <a:buChar char="•"/>
              <a:defRPr sz="3308">
                <a:gradFill>
                  <a:gsLst>
                    <a:gs pos="1250">
                      <a:schemeClr val="tx2"/>
                    </a:gs>
                    <a:gs pos="99000">
                      <a:schemeClr val="tx2"/>
                    </a:gs>
                  </a:gsLst>
                  <a:lin ang="5400000" scaled="0"/>
                </a:gradFill>
              </a:defRPr>
            </a:lvl1pPr>
            <a:lvl2pPr marL="488064" indent="-214272">
              <a:defRPr sz="2206"/>
            </a:lvl2pPr>
            <a:lvl3pPr marL="642817" indent="-154752">
              <a:tabLst/>
              <a:defRPr sz="1838"/>
            </a:lvl3pPr>
            <a:lvl4pPr marL="809473" indent="-166656">
              <a:defRPr/>
            </a:lvl4pPr>
            <a:lvl5pPr marL="964225" indent="-1547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89814417"/>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633556338"/>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0803344"/>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t="-2262"/>
          <a:stretch/>
        </p:blipFill>
        <p:spPr>
          <a:xfrm>
            <a:off x="313" y="-312"/>
            <a:ext cx="12191377" cy="6858623"/>
          </a:xfrm>
          <a:prstGeom prst="rect">
            <a:avLst/>
          </a:prstGeom>
        </p:spPr>
      </p:pic>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1166739"/>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2981394"/>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07806565"/>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60362827"/>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2858" tIns="42858" rIns="42858" bIns="42858" numCol="1" spcCol="0" rtlCol="0" fromWordArt="0" anchor="ctr" anchorCtr="0" forceAA="0" compatLnSpc="1">
            <a:prstTxWarp prst="textNoShape">
              <a:avLst/>
            </a:prstTxWarp>
            <a:noAutofit/>
          </a:bodyPr>
          <a:lstStyle/>
          <a:p>
            <a:pPr algn="ctr" defTabSz="856807" fontAlgn="base">
              <a:spcBef>
                <a:spcPct val="0"/>
              </a:spcBef>
              <a:spcAft>
                <a:spcPct val="0"/>
              </a:spcAft>
              <a:defRPr/>
            </a:pPr>
            <a:endParaRPr lang="en-US" sz="165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837823"/>
          </a:xfrm>
        </p:spPr>
        <p:txBody>
          <a:bodyPr/>
          <a:lstStyle>
            <a:lvl1pPr marL="0" indent="0">
              <a:buNone/>
              <a:defRPr sz="3032">
                <a:gradFill>
                  <a:gsLst>
                    <a:gs pos="1250">
                      <a:srgbClr val="000000"/>
                    </a:gs>
                    <a:gs pos="100000">
                      <a:srgbClr val="000000"/>
                    </a:gs>
                  </a:gsLst>
                  <a:lin ang="5400000" scaled="0"/>
                </a:gradFill>
                <a:latin typeface="Segoe UI" pitchFamily="34" charset="0"/>
                <a:cs typeface="Segoe UI" pitchFamily="34" charset="0"/>
              </a:defRPr>
            </a:lvl1pPr>
            <a:lvl2pPr marL="318432" indent="0">
              <a:buNone/>
              <a:defRPr>
                <a:gradFill>
                  <a:gsLst>
                    <a:gs pos="1250">
                      <a:srgbClr val="000000"/>
                    </a:gs>
                    <a:gs pos="100000">
                      <a:srgbClr val="000000"/>
                    </a:gs>
                  </a:gsLst>
                  <a:lin ang="5400000" scaled="0"/>
                </a:gradFill>
                <a:latin typeface="Segoe UI" pitchFamily="34" charset="0"/>
                <a:cs typeface="Segoe UI" pitchFamily="34" charset="0"/>
              </a:defRPr>
            </a:lvl2pPr>
            <a:lvl3pPr marL="537169" indent="0">
              <a:buNone/>
              <a:defRPr>
                <a:gradFill>
                  <a:gsLst>
                    <a:gs pos="1250">
                      <a:srgbClr val="000000"/>
                    </a:gs>
                    <a:gs pos="100000">
                      <a:srgbClr val="000000"/>
                    </a:gs>
                  </a:gsLst>
                  <a:lin ang="5400000" scaled="0"/>
                </a:gradFill>
                <a:latin typeface="Segoe UI" pitchFamily="34" charset="0"/>
                <a:cs typeface="Segoe UI" pitchFamily="34" charset="0"/>
              </a:defRPr>
            </a:lvl3pPr>
            <a:lvl4pPr marL="748465" indent="0">
              <a:buNone/>
              <a:defRPr>
                <a:gradFill>
                  <a:gsLst>
                    <a:gs pos="1250">
                      <a:srgbClr val="000000"/>
                    </a:gs>
                    <a:gs pos="100000">
                      <a:srgbClr val="000000"/>
                    </a:gs>
                  </a:gsLst>
                  <a:lin ang="5400000" scaled="0"/>
                </a:gradFill>
                <a:latin typeface="Segoe UI" pitchFamily="34" charset="0"/>
                <a:cs typeface="Segoe UI" pitchFamily="34" charset="0"/>
              </a:defRPr>
            </a:lvl4pPr>
            <a:lvl5pPr marL="96571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2472689"/>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249354"/>
          </a:xfrm>
          <a:prstGeom prst="rect">
            <a:avLst/>
          </a:prstGeom>
        </p:spPr>
        <p:txBody>
          <a:bodyPr/>
          <a:lstStyle>
            <a:lvl1pPr marL="266940" indent="-266940">
              <a:buClr>
                <a:schemeClr val="tx1"/>
              </a:buClr>
              <a:buSzPct val="90000"/>
              <a:buFont typeface="Arial" pitchFamily="34" charset="0"/>
              <a:buChar char="•"/>
              <a:defRPr sz="330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25125" indent="-258187">
              <a:buClr>
                <a:schemeClr val="tx1"/>
              </a:buClr>
              <a:buSzPct val="90000"/>
              <a:buFont typeface="Arial" pitchFamily="34" charset="0"/>
              <a:buChar char="•"/>
              <a:defRPr sz="294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792065" indent="-266940">
              <a:buClr>
                <a:schemeClr val="tx1"/>
              </a:buClr>
              <a:buSzPct val="90000"/>
              <a:buFont typeface="Arial" pitchFamily="34" charset="0"/>
              <a:buChar char="•"/>
              <a:defRPr sz="257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02116" indent="-210051">
              <a:buClr>
                <a:schemeClr val="tx1"/>
              </a:buClr>
              <a:buSzPct val="90000"/>
              <a:buFont typeface="Arial" pitchFamily="34" charset="0"/>
              <a:buChar char="•"/>
              <a:defRPr sz="2206">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12165" indent="-210051">
              <a:buClr>
                <a:schemeClr val="tx1"/>
              </a:buClr>
              <a:buSzPct val="90000"/>
              <a:buFont typeface="Arial" pitchFamily="34" charset="0"/>
              <a:buChar char="•"/>
              <a:defRPr sz="183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400" spc="-4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374811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gradFill>
                  <a:gsLst>
                    <a:gs pos="0">
                      <a:schemeClr val="tx1"/>
                    </a:gs>
                    <a:gs pos="100000">
                      <a:schemeClr val="tx1"/>
                    </a:gs>
                  </a:gsLst>
                  <a:lin ang="5400000" scaled="1"/>
                </a:gra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gradFill>
                  <a:gsLst>
                    <a:gs pos="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gradFill>
                  <a:gsLst>
                    <a:gs pos="0">
                      <a:schemeClr val="tx1"/>
                    </a:gs>
                    <a:gs pos="100000">
                      <a:schemeClr val="tx1"/>
                    </a:gs>
                  </a:gsLst>
                  <a:lin ang="5400000" scaled="1"/>
                </a:gra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gradFill>
                  <a:gsLst>
                    <a:gs pos="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gradFill>
                  <a:gsLst>
                    <a:gs pos="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Tree>
    <p:extLst>
      <p:ext uri="{BB962C8B-B14F-4D97-AF65-F5344CB8AC3E}">
        <p14:creationId xmlns:p14="http://schemas.microsoft.com/office/powerpoint/2010/main" val="4247291933"/>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622"/>
            </a:lvl1pPr>
          </a:lstStyle>
          <a:p>
            <a:r>
              <a:rPr lang="en-US"/>
              <a:t>Click to edit Master title style</a:t>
            </a:r>
          </a:p>
        </p:txBody>
      </p:sp>
      <p:sp>
        <p:nvSpPr>
          <p:cNvPr id="3" name="Subtitle 2"/>
          <p:cNvSpPr>
            <a:spLocks noGrp="1"/>
          </p:cNvSpPr>
          <p:nvPr>
            <p:ph type="subTitle" idx="1"/>
          </p:nvPr>
        </p:nvSpPr>
        <p:spPr>
          <a:xfrm>
            <a:off x="1524000" y="3602039"/>
            <a:ext cx="9144000" cy="496290"/>
          </a:xfrm>
        </p:spPr>
        <p:txBody>
          <a:bodyPr/>
          <a:lstStyle>
            <a:lvl1pPr marL="0" indent="0" algn="ctr">
              <a:buNone/>
              <a:defRPr sz="2250"/>
            </a:lvl1pPr>
            <a:lvl2pPr marL="428461" indent="0" algn="ctr">
              <a:buNone/>
              <a:defRPr sz="1874"/>
            </a:lvl2pPr>
            <a:lvl3pPr marL="856921" indent="0" algn="ctr">
              <a:buNone/>
              <a:defRPr sz="1688"/>
            </a:lvl3pPr>
            <a:lvl4pPr marL="1285381" indent="0" algn="ctr">
              <a:buNone/>
              <a:defRPr sz="1500"/>
            </a:lvl4pPr>
            <a:lvl5pPr marL="1713842" indent="0" algn="ctr">
              <a:buNone/>
              <a:defRPr sz="1500"/>
            </a:lvl5pPr>
            <a:lvl6pPr marL="2142302" indent="0" algn="ctr">
              <a:buNone/>
              <a:defRPr sz="1500"/>
            </a:lvl6pPr>
            <a:lvl7pPr marL="2570763" indent="0" algn="ctr">
              <a:buNone/>
              <a:defRPr sz="1500"/>
            </a:lvl7pPr>
            <a:lvl8pPr marL="2999222" indent="0" algn="ctr">
              <a:buNone/>
              <a:defRPr sz="1500"/>
            </a:lvl8pPr>
            <a:lvl9pPr marL="3427683" indent="0" algn="ctr">
              <a:buNone/>
              <a:defRPr sz="1500"/>
            </a:lvl9pPr>
          </a:lstStyle>
          <a:p>
            <a:r>
              <a:rPr lang="en-US"/>
              <a:t>Click to edit Master subtitle style</a:t>
            </a:r>
          </a:p>
        </p:txBody>
      </p:sp>
      <p:sp>
        <p:nvSpPr>
          <p:cNvPr id="4" name="Date Placeholder 3"/>
          <p:cNvSpPr>
            <a:spLocks noGrp="1"/>
          </p:cNvSpPr>
          <p:nvPr>
            <p:ph type="dt" sz="half" idx="10"/>
          </p:nvPr>
        </p:nvSpPr>
        <p:spPr>
          <a:xfrm>
            <a:off x="838202" y="6356353"/>
            <a:ext cx="2743200" cy="365125"/>
          </a:xfrm>
          <a:prstGeom prst="rect">
            <a:avLst/>
          </a:prstGeom>
        </p:spPr>
        <p:txBody>
          <a:bodyPr/>
          <a:lstStyle/>
          <a:p>
            <a:pPr defTabSz="857055"/>
            <a:fld id="{FF10745D-BFEF-4546-BEC9-7742E95A3706}" type="datetimeFigureOut">
              <a:rPr lang="en-US" sz="1655" smtClean="0">
                <a:solidFill>
                  <a:srgbClr val="FFFFFF"/>
                </a:solidFill>
              </a:rPr>
              <a:pPr defTabSz="857055"/>
              <a:t>3/29/2021</a:t>
            </a:fld>
            <a:endParaRPr lang="en-US" sz="1655">
              <a:solidFill>
                <a:srgbClr val="FFFFFF"/>
              </a:solidFill>
            </a:endParaRPr>
          </a:p>
        </p:txBody>
      </p:sp>
      <p:sp>
        <p:nvSpPr>
          <p:cNvPr id="5" name="Footer Placeholder 4"/>
          <p:cNvSpPr>
            <a:spLocks noGrp="1"/>
          </p:cNvSpPr>
          <p:nvPr>
            <p:ph type="ftr" sz="quarter" idx="11"/>
          </p:nvPr>
        </p:nvSpPr>
        <p:spPr>
          <a:xfrm>
            <a:off x="4038600" y="6356353"/>
            <a:ext cx="4114800" cy="365125"/>
          </a:xfrm>
          <a:prstGeom prst="rect">
            <a:avLst/>
          </a:prstGeom>
        </p:spPr>
        <p:txBody>
          <a:bodyPr/>
          <a:lstStyle/>
          <a:p>
            <a:pPr defTabSz="857055"/>
            <a:endParaRPr lang="en-US" sz="1655">
              <a:solidFill>
                <a:srgbClr val="FFFFFF"/>
              </a:solidFill>
            </a:endParaRPr>
          </a:p>
        </p:txBody>
      </p:sp>
      <p:sp>
        <p:nvSpPr>
          <p:cNvPr id="6" name="Slide Number Placeholder 5"/>
          <p:cNvSpPr>
            <a:spLocks noGrp="1"/>
          </p:cNvSpPr>
          <p:nvPr>
            <p:ph type="sldNum" sz="quarter" idx="12"/>
          </p:nvPr>
        </p:nvSpPr>
        <p:spPr>
          <a:xfrm>
            <a:off x="8610600" y="6356353"/>
            <a:ext cx="2743200" cy="365125"/>
          </a:xfrm>
          <a:prstGeom prst="rect">
            <a:avLst/>
          </a:prstGeom>
        </p:spPr>
        <p:txBody>
          <a:bodyPr/>
          <a:lstStyle/>
          <a:p>
            <a:pPr defTabSz="857055"/>
            <a:fld id="{17D91851-E457-4236-BE61-7DC395D2A288}" type="slidenum">
              <a:rPr lang="en-US" sz="1655" smtClean="0">
                <a:solidFill>
                  <a:srgbClr val="FFFFFF"/>
                </a:solidFill>
              </a:rPr>
              <a:pPr defTabSz="857055"/>
              <a:t>‹#›</a:t>
            </a:fld>
            <a:endParaRPr lang="en-US" sz="1655">
              <a:solidFill>
                <a:srgbClr val="FFFFFF"/>
              </a:solidFill>
            </a:endParaRPr>
          </a:p>
        </p:txBody>
      </p:sp>
    </p:spTree>
    <p:extLst>
      <p:ext uri="{BB962C8B-B14F-4D97-AF65-F5344CB8AC3E}">
        <p14:creationId xmlns:p14="http://schemas.microsoft.com/office/powerpoint/2010/main" val="337371950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91" y="2008785"/>
            <a:ext cx="5157787" cy="496290"/>
          </a:xfrm>
        </p:spPr>
        <p:txBody>
          <a:bodyPr anchor="b"/>
          <a:lstStyle>
            <a:lvl1pPr marL="0" indent="0">
              <a:buNone/>
              <a:defRPr sz="2250" b="1"/>
            </a:lvl1pPr>
            <a:lvl2pPr marL="428543" indent="0">
              <a:buNone/>
              <a:defRPr sz="1874" b="1"/>
            </a:lvl2pPr>
            <a:lvl3pPr marL="857085" indent="0">
              <a:buNone/>
              <a:defRPr sz="1688" b="1"/>
            </a:lvl3pPr>
            <a:lvl4pPr marL="1285628" indent="0">
              <a:buNone/>
              <a:defRPr sz="1500" b="1"/>
            </a:lvl4pPr>
            <a:lvl5pPr marL="1714171" indent="0">
              <a:buNone/>
              <a:defRPr sz="1500" b="1"/>
            </a:lvl5pPr>
            <a:lvl6pPr marL="2142713" indent="0">
              <a:buNone/>
              <a:defRPr sz="1500" b="1"/>
            </a:lvl6pPr>
            <a:lvl7pPr marL="2571256" indent="0">
              <a:buNone/>
              <a:defRPr sz="1500" b="1"/>
            </a:lvl7pPr>
            <a:lvl8pPr marL="2999798" indent="0">
              <a:buNone/>
              <a:defRPr sz="1500" b="1"/>
            </a:lvl8pPr>
            <a:lvl9pPr marL="3428341" indent="0">
              <a:buNone/>
              <a:defRPr sz="1500" b="1"/>
            </a:lvl9pPr>
          </a:lstStyle>
          <a:p>
            <a:pPr lvl="0"/>
            <a:r>
              <a:rPr lang="en-US"/>
              <a:t>Click to edit Master text styles</a:t>
            </a:r>
          </a:p>
        </p:txBody>
      </p:sp>
      <p:sp>
        <p:nvSpPr>
          <p:cNvPr id="4" name="Content Placeholder 3"/>
          <p:cNvSpPr>
            <a:spLocks noGrp="1"/>
          </p:cNvSpPr>
          <p:nvPr>
            <p:ph sz="half" idx="2"/>
          </p:nvPr>
        </p:nvSpPr>
        <p:spPr>
          <a:xfrm>
            <a:off x="839791" y="2505076"/>
            <a:ext cx="5157787" cy="2435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2008785"/>
            <a:ext cx="5183188" cy="496290"/>
          </a:xfrm>
        </p:spPr>
        <p:txBody>
          <a:bodyPr anchor="b"/>
          <a:lstStyle>
            <a:lvl1pPr marL="0" indent="0">
              <a:buNone/>
              <a:defRPr sz="2250" b="1"/>
            </a:lvl1pPr>
            <a:lvl2pPr marL="428543" indent="0">
              <a:buNone/>
              <a:defRPr sz="1874" b="1"/>
            </a:lvl2pPr>
            <a:lvl3pPr marL="857085" indent="0">
              <a:buNone/>
              <a:defRPr sz="1688" b="1"/>
            </a:lvl3pPr>
            <a:lvl4pPr marL="1285628" indent="0">
              <a:buNone/>
              <a:defRPr sz="1500" b="1"/>
            </a:lvl4pPr>
            <a:lvl5pPr marL="1714171" indent="0">
              <a:buNone/>
              <a:defRPr sz="1500" b="1"/>
            </a:lvl5pPr>
            <a:lvl6pPr marL="2142713" indent="0">
              <a:buNone/>
              <a:defRPr sz="1500" b="1"/>
            </a:lvl6pPr>
            <a:lvl7pPr marL="2571256" indent="0">
              <a:buNone/>
              <a:defRPr sz="1500" b="1"/>
            </a:lvl7pPr>
            <a:lvl8pPr marL="2999798" indent="0">
              <a:buNone/>
              <a:defRPr sz="1500" b="1"/>
            </a:lvl8pPr>
            <a:lvl9pPr marL="3428341" indent="0">
              <a:buNone/>
              <a:defRPr sz="1500" b="1"/>
            </a:lvl9pPr>
          </a:lstStyle>
          <a:p>
            <a:pPr lvl="0"/>
            <a:r>
              <a:rPr lang="en-US"/>
              <a:t>Click to edit Master text styles</a:t>
            </a:r>
          </a:p>
        </p:txBody>
      </p:sp>
      <p:sp>
        <p:nvSpPr>
          <p:cNvPr id="6" name="Content Placeholder 5"/>
          <p:cNvSpPr>
            <a:spLocks noGrp="1"/>
          </p:cNvSpPr>
          <p:nvPr>
            <p:ph sz="quarter" idx="4"/>
          </p:nvPr>
        </p:nvSpPr>
        <p:spPr>
          <a:xfrm>
            <a:off x="6172200" y="2505076"/>
            <a:ext cx="5183188" cy="2435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1" y="6356352"/>
            <a:ext cx="2743200" cy="365125"/>
          </a:xfrm>
          <a:prstGeom prst="rect">
            <a:avLst/>
          </a:prstGeom>
        </p:spPr>
        <p:txBody>
          <a:bodyPr/>
          <a:lstStyle/>
          <a:p>
            <a:fld id="{F5E1262D-0FBC-4B24-BF93-EB17A44FB349}" type="datetimeFigureOut">
              <a:rPr lang="en-US">
                <a:solidFill>
                  <a:srgbClr val="FFFFFF"/>
                </a:solidFill>
              </a:rPr>
              <a:pPr/>
              <a:t>3/29/2021</a:t>
            </a:fld>
            <a:endParaRPr lang="en-US">
              <a:solidFill>
                <a:srgbClr val="FFFFFF"/>
              </a:solidFill>
            </a:endParaRPr>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p>
            <a:endParaRPr lang="en-US">
              <a:solidFill>
                <a:srgbClr val="FFFFFF"/>
              </a:solidFill>
            </a:endParaRPr>
          </a:p>
        </p:txBody>
      </p:sp>
      <p:sp>
        <p:nvSpPr>
          <p:cNvPr id="9" name="Slide Number Placeholder 8"/>
          <p:cNvSpPr>
            <a:spLocks noGrp="1"/>
          </p:cNvSpPr>
          <p:nvPr>
            <p:ph type="sldNum" sz="quarter" idx="12"/>
          </p:nvPr>
        </p:nvSpPr>
        <p:spPr>
          <a:xfrm>
            <a:off x="8610600" y="6356352"/>
            <a:ext cx="2743200" cy="365125"/>
          </a:xfrm>
          <a:prstGeom prst="rect">
            <a:avLst/>
          </a:prstGeom>
        </p:spPr>
        <p:txBody>
          <a:bodyPr/>
          <a:lstStyle/>
          <a:p>
            <a:fld id="{EC354C75-676E-4691-9B79-CBB15BB669AF}" type="slidenum">
              <a:rPr lang="en-US">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09459483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Dark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3273943"/>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2"/>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3"/>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l" defTabSz="932304"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575"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75"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75"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4" y="3183754"/>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21" y="1816159"/>
            <a:ext cx="3474481" cy="4149241"/>
          </a:xfrm>
          <a:prstGeom prst="rect">
            <a:avLst/>
          </a:prstGeom>
        </p:spPr>
      </p:pic>
    </p:spTree>
    <p:extLst>
      <p:ext uri="{BB962C8B-B14F-4D97-AF65-F5344CB8AC3E}">
        <p14:creationId xmlns:p14="http://schemas.microsoft.com/office/powerpoint/2010/main" val="2963826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90"/>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1"/>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2"/>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8" y="585790"/>
            <a:ext cx="2691631" cy="276999"/>
          </a:xfrm>
          <a:solidFill>
            <a:srgbClr val="E6E6E6">
              <a:alpha val="75000"/>
            </a:srgbClr>
          </a:solidFill>
        </p:spPr>
        <p:txBody>
          <a:bodyPr/>
          <a:lstStyle>
            <a:lvl1pPr marL="0" marR="0" indent="0" algn="r" defTabSz="932575"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1116414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9" indent="0">
              <a:buNone/>
              <a:defRPr/>
            </a:lvl2pPr>
            <a:lvl3pPr marL="457117" indent="0">
              <a:buNone/>
              <a:defRPr/>
            </a:lvl3pPr>
            <a:lvl4pPr marL="685677" indent="0">
              <a:buNone/>
              <a:defRPr/>
            </a:lvl4pPr>
            <a:lvl5pPr marL="914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57978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1219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42" indent="0">
              <a:buFont typeface="Wingdings" panose="05000000000000000000" pitchFamily="2" charset="2"/>
              <a:buNone/>
              <a:defRPr sz="2000" b="0"/>
            </a:lvl2pPr>
            <a:lvl3pPr marL="450768" indent="0">
              <a:buFont typeface="Wingdings" panose="05000000000000000000" pitchFamily="2" charset="2"/>
              <a:buNone/>
              <a:tabLst/>
              <a:defRPr sz="1600" b="0"/>
            </a:lvl3pPr>
            <a:lvl4pPr marL="652345" indent="0">
              <a:buFont typeface="Wingdings" panose="05000000000000000000" pitchFamily="2" charset="2"/>
              <a:buNone/>
              <a:defRPr sz="1400" b="0"/>
            </a:lvl4pPr>
            <a:lvl5pPr marL="85392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42" indent="0">
              <a:buFont typeface="Wingdings" panose="05000000000000000000" pitchFamily="2" charset="2"/>
              <a:buNone/>
              <a:defRPr sz="2000" b="0"/>
            </a:lvl2pPr>
            <a:lvl3pPr marL="450768" indent="0">
              <a:buFont typeface="Wingdings" panose="05000000000000000000" pitchFamily="2" charset="2"/>
              <a:buNone/>
              <a:tabLst/>
              <a:defRPr sz="1600" b="0"/>
            </a:lvl3pPr>
            <a:lvl4pPr marL="652345" indent="0">
              <a:buFont typeface="Wingdings" panose="05000000000000000000" pitchFamily="2" charset="2"/>
              <a:buNone/>
              <a:defRPr sz="1400" b="0"/>
            </a:lvl4pPr>
            <a:lvl5pPr marL="85392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93313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2" indent="-231732">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61" indent="-171419">
              <a:buFont typeface="Wingdings" panose="05000000000000000000" pitchFamily="2" charset="2"/>
              <a:buChar char=""/>
              <a:defRPr sz="2000" b="0"/>
            </a:lvl2pPr>
            <a:lvl3pPr marL="639647" indent="-188878">
              <a:buFont typeface="Wingdings" panose="05000000000000000000" pitchFamily="2" charset="2"/>
              <a:buChar char=""/>
              <a:tabLst/>
              <a:defRPr sz="1600" b="0"/>
            </a:lvl3pPr>
            <a:lvl4pPr marL="828526" indent="-176181">
              <a:buFont typeface="Wingdings" panose="05000000000000000000" pitchFamily="2" charset="2"/>
              <a:buChar char=""/>
              <a:defRPr sz="1400" b="0"/>
            </a:lvl4pPr>
            <a:lvl5pPr marL="1023754" indent="-169832">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2" indent="-231732">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61" indent="-171419">
              <a:buFont typeface="Wingdings" panose="05000000000000000000" pitchFamily="2" charset="2"/>
              <a:buChar char=""/>
              <a:defRPr sz="2000" b="0"/>
            </a:lvl2pPr>
            <a:lvl3pPr marL="639647" indent="-188878">
              <a:buFont typeface="Wingdings" panose="05000000000000000000" pitchFamily="2" charset="2"/>
              <a:buChar char=""/>
              <a:tabLst/>
              <a:defRPr sz="1600" b="0"/>
            </a:lvl3pPr>
            <a:lvl4pPr marL="828526" indent="-176181">
              <a:buFont typeface="Wingdings" panose="05000000000000000000" pitchFamily="2" charset="2"/>
              <a:buChar char=""/>
              <a:defRPr sz="1400" b="0"/>
            </a:lvl4pPr>
            <a:lvl5pPr marL="1023754" indent="-169832">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51012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307281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07107484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gradFill>
                  <a:gsLst>
                    <a:gs pos="0">
                      <a:schemeClr val="tx1"/>
                    </a:gs>
                    <a:gs pos="100000">
                      <a:schemeClr val="tx1"/>
                    </a:gs>
                  </a:gsLst>
                  <a:lin ang="5400000" scaled="1"/>
                </a:gradFill>
              </a:defRPr>
            </a:lvl1pPr>
          </a:lstStyle>
          <a:p>
            <a:r>
              <a:rPr lang="en-US"/>
              <a:t>Table styling</a:t>
            </a:r>
          </a:p>
        </p:txBody>
      </p:sp>
      <p:sp>
        <p:nvSpPr>
          <p:cNvPr id="4" name="Table Placeholder 3"/>
          <p:cNvSpPr>
            <a:spLocks noGrp="1"/>
          </p:cNvSpPr>
          <p:nvPr>
            <p:ph type="tbl" sz="quarter" idx="10"/>
          </p:nvPr>
        </p:nvSpPr>
        <p:spPr>
          <a:xfrm>
            <a:off x="455995" y="2158885"/>
            <a:ext cx="11306469" cy="4078687"/>
          </a:xfrm>
          <a:prstGeom prst="rect">
            <a:avLst/>
          </a:prstGeom>
        </p:spPr>
        <p:txBody>
          <a:bodyPr anchor="ctr" anchorCtr="0">
            <a:noAutofit/>
          </a:bodyPr>
          <a:lstStyle>
            <a:lvl1pPr algn="ctr">
              <a:defRPr>
                <a:gradFill>
                  <a:gsLst>
                    <a:gs pos="0">
                      <a:schemeClr val="tx1"/>
                    </a:gs>
                    <a:gs pos="100000">
                      <a:schemeClr val="tx1"/>
                    </a:gs>
                  </a:gsLst>
                  <a:lin ang="5400000" scaled="1"/>
                </a:gradFill>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4"/>
            <a:ext cx="11306469"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accent6">
                        <a:lumMod val="75000"/>
                      </a:schemeClr>
                    </a:gs>
                    <a:gs pos="100000">
                      <a:schemeClr val="accent6">
                        <a:lumMod val="75000"/>
                      </a:schemeClr>
                    </a:gs>
                  </a:gsLst>
                  <a:lin ang="5400000" scaled="1"/>
                </a:gradFill>
                <a:cs typeface="Segoe UI" pitchFamily="34" charset="0"/>
              </a:rPr>
              <a:t>©Microsoft Corporation									                                                                                                                                             Azure </a:t>
            </a:r>
          </a:p>
        </p:txBody>
      </p:sp>
    </p:spTree>
    <p:extLst>
      <p:ext uri="{BB962C8B-B14F-4D97-AF65-F5344CB8AC3E}">
        <p14:creationId xmlns:p14="http://schemas.microsoft.com/office/powerpoint/2010/main" val="2591160105"/>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22884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181064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2" y="292102"/>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75"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50"/>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559" indent="0">
              <a:buNone/>
              <a:defRPr/>
            </a:lvl2pPr>
            <a:lvl3pPr marL="457117" indent="0">
              <a:buNone/>
              <a:defRPr/>
            </a:lvl3pPr>
            <a:lvl4pPr marL="661869" indent="0">
              <a:buNone/>
              <a:defRPr/>
            </a:lvl4pPr>
            <a:lvl5pPr marL="855510" indent="0">
              <a:buNone/>
              <a:defRPr/>
            </a:lvl5pPr>
          </a:lstStyle>
          <a:p>
            <a:pPr lvl="0"/>
            <a:r>
              <a:rPr lang="en-US"/>
              <a:t>Edit Master text styles</a:t>
            </a:r>
          </a:p>
        </p:txBody>
      </p:sp>
    </p:spTree>
    <p:extLst>
      <p:ext uri="{BB962C8B-B14F-4D97-AF65-F5344CB8AC3E}">
        <p14:creationId xmlns:p14="http://schemas.microsoft.com/office/powerpoint/2010/main" val="42702759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2"/>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2"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2" y="292102"/>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75"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6924098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2"/>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75"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1"/>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98790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2"/>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75"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99649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2"/>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75"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1654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58094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9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0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1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808"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773763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23"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90"/>
            <a:ext cx="1366440" cy="292608"/>
          </a:xfrm>
          <a:prstGeom prst="rect">
            <a:avLst/>
          </a:prstGeom>
        </p:spPr>
      </p:pic>
    </p:spTree>
    <p:extLst>
      <p:ext uri="{BB962C8B-B14F-4D97-AF65-F5344CB8AC3E}">
        <p14:creationId xmlns:p14="http://schemas.microsoft.com/office/powerpoint/2010/main" val="11653500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gradFill>
                  <a:gsLst>
                    <a:gs pos="0">
                      <a:schemeClr val="bg1"/>
                    </a:gs>
                    <a:gs pos="100000">
                      <a:schemeClr val="bg1"/>
                    </a:gs>
                  </a:gsLst>
                  <a:lin ang="5400000" scaled="1"/>
                </a:gra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bg1"/>
                    </a:gs>
                    <a:gs pos="100000">
                      <a:schemeClr val="bg1"/>
                    </a:gs>
                  </a:gsLst>
                  <a:lin ang="5400000" scaled="1"/>
                </a:gradFill>
                <a:cs typeface="Segoe UI" pitchFamily="34" charset="0"/>
              </a:rPr>
              <a:t>© Copyright Microsoft Corporation. All rights reserved. </a:t>
            </a:r>
          </a:p>
        </p:txBody>
      </p:sp>
    </p:spTree>
    <p:extLst>
      <p:ext uri="{BB962C8B-B14F-4D97-AF65-F5344CB8AC3E}">
        <p14:creationId xmlns:p14="http://schemas.microsoft.com/office/powerpoint/2010/main" val="13829048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67123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61BEF0D-F0BB-DE4B-95CE-6DB70DBA9567}" type="datetimeFigureOut">
              <a:rPr lang="en-US" smtClean="0"/>
              <a:pPr/>
              <a:t>3/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3680718031"/>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General_Blank_Thin">
    <p:spTree>
      <p:nvGrpSpPr>
        <p:cNvPr id="1" name=""/>
        <p:cNvGrpSpPr/>
        <p:nvPr/>
      </p:nvGrpSpPr>
      <p:grpSpPr>
        <a:xfrm>
          <a:off x="0" y="0"/>
          <a:ext cx="0" cy="0"/>
          <a:chOff x="0" y="0"/>
          <a:chExt cx="0" cy="0"/>
        </a:xfrm>
      </p:grpSpPr>
      <p:sp useBgFill="1">
        <p:nvSpPr>
          <p:cNvPr id="12" name="Rectangle: Top Corners Rounded 11"/>
          <p:cNvSpPr/>
          <p:nvPr userDrawn="1"/>
        </p:nvSpPr>
        <p:spPr bwMode="auto">
          <a:xfrm rot="16200000">
            <a:off x="10934847" y="-491996"/>
            <a:ext cx="718681" cy="1886790"/>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304"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049" indent="0">
              <a:buNone/>
              <a:defRPr sz="2353">
                <a:solidFill>
                  <a:schemeClr val="bg1"/>
                </a:solidFill>
                <a:latin typeface="+mn-lt"/>
              </a:defRPr>
            </a:lvl2pPr>
            <a:lvl3pPr marL="520608" indent="0">
              <a:buNone/>
              <a:tabLst/>
              <a:defRPr sz="1961">
                <a:solidFill>
                  <a:schemeClr val="bg1"/>
                </a:solidFill>
                <a:latin typeface="+mn-lt"/>
              </a:defRPr>
            </a:lvl3pPr>
            <a:lvl4pPr marL="685679" indent="0">
              <a:buNone/>
              <a:defRPr>
                <a:solidFill>
                  <a:schemeClr val="bg1"/>
                </a:solidFill>
                <a:latin typeface="+mn-lt"/>
              </a:defRPr>
            </a:lvl4pPr>
            <a:lvl5pPr marL="863448"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330200" y="289511"/>
            <a:ext cx="3780246" cy="1231218"/>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3" y="1604088"/>
            <a:ext cx="3780245" cy="246257"/>
          </a:xfrm>
        </p:spPr>
        <p:txBody>
          <a:bodyPr wrap="square">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9" indent="0">
              <a:buNone/>
              <a:defRPr sz="2353">
                <a:solidFill>
                  <a:schemeClr val="bg1"/>
                </a:solidFill>
                <a:latin typeface="+mn-lt"/>
              </a:defRPr>
            </a:lvl2pPr>
            <a:lvl3pPr marL="520608" indent="0">
              <a:buNone/>
              <a:tabLst/>
              <a:defRPr sz="1961">
                <a:solidFill>
                  <a:schemeClr val="bg1"/>
                </a:solidFill>
                <a:latin typeface="+mn-lt"/>
              </a:defRPr>
            </a:lvl3pPr>
            <a:lvl4pPr marL="685679" indent="0">
              <a:buNone/>
              <a:defRPr>
                <a:solidFill>
                  <a:schemeClr val="bg1"/>
                </a:solidFill>
                <a:latin typeface="+mn-lt"/>
              </a:defRPr>
            </a:lvl4pPr>
            <a:lvl5pPr marL="863448"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151064"/>
            <a:ext cx="3329638" cy="215451"/>
          </a:xfrm>
        </p:spPr>
        <p:txBody>
          <a:bodyPr wrap="square" anchor="ctr" anchorCtr="0">
            <a:spAutoFit/>
          </a:bodyPr>
          <a:lstStyle>
            <a:lvl1pPr marL="0" indent="0">
              <a:spcBef>
                <a:spcPts val="1200"/>
              </a:spcBef>
              <a:buClr>
                <a:schemeClr val="tx1"/>
              </a:buClr>
              <a:buFont typeface="Arial" pitchFamily="34" charset="0"/>
              <a:buNone/>
              <a:defRPr sz="1400">
                <a:solidFill>
                  <a:schemeClr val="tx1"/>
                </a:solidFill>
                <a:latin typeface="+mn-lt"/>
              </a:defRPr>
            </a:lvl1pPr>
            <a:lvl2pPr marL="292049" indent="0">
              <a:buNone/>
              <a:defRPr sz="2353">
                <a:solidFill>
                  <a:schemeClr val="bg1"/>
                </a:solidFill>
                <a:latin typeface="+mn-lt"/>
              </a:defRPr>
            </a:lvl2pPr>
            <a:lvl3pPr marL="520608" indent="0">
              <a:buNone/>
              <a:tabLst/>
              <a:defRPr sz="1961">
                <a:solidFill>
                  <a:schemeClr val="bg1"/>
                </a:solidFill>
                <a:latin typeface="+mn-lt"/>
              </a:defRPr>
            </a:lvl3pPr>
            <a:lvl4pPr marL="685679" indent="0">
              <a:buNone/>
              <a:defRPr>
                <a:solidFill>
                  <a:schemeClr val="bg1"/>
                </a:solidFill>
                <a:latin typeface="+mn-lt"/>
              </a:defRPr>
            </a:lvl4pPr>
            <a:lvl5pPr marL="863448"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3"/>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Freeform 5">
            <a:extLst>
              <a:ext uri="{FF2B5EF4-FFF2-40B4-BE49-F238E27FC236}">
                <a16:creationId xmlns:a16="http://schemas.microsoft.com/office/drawing/2014/main" id="{A92B0539-2DE8-40D0-9B17-A323AB7635B8}"/>
              </a:ext>
            </a:extLst>
          </p:cNvPr>
          <p:cNvSpPr>
            <a:spLocks noEditPoints="1"/>
          </p:cNvSpPr>
          <p:nvPr userDrawn="1"/>
        </p:nvSpPr>
        <p:spPr bwMode="auto">
          <a:xfrm>
            <a:off x="330200" y="6044561"/>
            <a:ext cx="428460" cy="428460"/>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accent4"/>
            </a:solidFill>
            <a:prstDash val="solid"/>
            <a:miter lim="800000"/>
            <a:headEnd/>
            <a:tailEnd/>
          </a:ln>
        </p:spPr>
        <p:txBody>
          <a:bodyPr vert="horz" wrap="square" lIns="89629" tIns="44813" rIns="89629" bIns="44813" numCol="1" anchor="t" anchorCtr="0" compatLnSpc="1">
            <a:prstTxWarp prst="textNoShape">
              <a:avLst/>
            </a:prstTxWarp>
          </a:bodyPr>
          <a:lstStyle/>
          <a:p>
            <a:pPr marL="0" marR="0" lvl="0" indent="0" defTabSz="91420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Tree>
    <p:extLst>
      <p:ext uri="{BB962C8B-B14F-4D97-AF65-F5344CB8AC3E}">
        <p14:creationId xmlns:p14="http://schemas.microsoft.com/office/powerpoint/2010/main" val="25788104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20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9" indent="0">
              <a:spcBef>
                <a:spcPts val="0"/>
              </a:spcBef>
              <a:spcAft>
                <a:spcPts val="1273"/>
              </a:spcAft>
              <a:buNone/>
              <a:defRPr sz="1961"/>
            </a:lvl4pPr>
            <a:lvl5pPr marL="896225"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5" y="22258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8" y="6431031"/>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Tree>
    <p:extLst>
      <p:ext uri="{BB962C8B-B14F-4D97-AF65-F5344CB8AC3E}">
        <p14:creationId xmlns:p14="http://schemas.microsoft.com/office/powerpoint/2010/main" val="2072464535"/>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359385" y="90604"/>
            <a:ext cx="11428379" cy="615609"/>
          </a:xfrm>
          <a:prstGeom prst="rect">
            <a:avLst/>
          </a:prstGeom>
        </p:spPr>
        <p:txBody>
          <a:bodyPr anchor="t"/>
          <a:lstStyle>
            <a:lvl1pPr>
              <a:defRPr sz="4000"/>
            </a:lvl1pPr>
          </a:lstStyle>
          <a:p>
            <a:r>
              <a:rPr lang="en-US"/>
              <a:t>Click to edit Master title style</a:t>
            </a:r>
          </a:p>
        </p:txBody>
      </p:sp>
      <p:sp>
        <p:nvSpPr>
          <p:cNvPr id="4" name="Text Placeholder 2"/>
          <p:cNvSpPr>
            <a:spLocks noGrp="1"/>
          </p:cNvSpPr>
          <p:nvPr>
            <p:ph type="body" sz="quarter" idx="11"/>
          </p:nvPr>
        </p:nvSpPr>
        <p:spPr>
          <a:xfrm>
            <a:off x="359385" y="719397"/>
            <a:ext cx="11428379" cy="596144"/>
          </a:xfrm>
          <a:prstGeom prst="rect">
            <a:avLst/>
          </a:prstGeom>
        </p:spPr>
        <p:txBody>
          <a:bodyPr vert="horz" wrap="square" lIns="91440" tIns="45720" rIns="91440" bIns="45720" rtlCol="0" anchor="t">
            <a:noAutofit/>
          </a:bodyPr>
          <a:lstStyle>
            <a:lvl1pPr marL="0" indent="0">
              <a:buFontTx/>
              <a:buNone/>
              <a:defRPr lang="en-US" sz="2600" b="0" cap="none" spc="-100" dirty="0" smtClean="0">
                <a:ln w="3175">
                  <a:noFill/>
                </a:ln>
                <a:solidFill>
                  <a:schemeClr val="accent1"/>
                </a:solidFill>
                <a:effectLst/>
                <a:latin typeface="+mj-lt"/>
                <a:cs typeface="Segoe UI" pitchFamily="34" charset="0"/>
              </a:defRPr>
            </a:lvl1pPr>
            <a:lvl2pPr>
              <a:defRPr lang="en-US" sz="1567" dirty="0" smtClean="0"/>
            </a:lvl2pPr>
            <a:lvl3pPr>
              <a:defRPr lang="en-US" sz="1567" dirty="0" smtClean="0"/>
            </a:lvl3pPr>
            <a:lvl4pPr>
              <a:defRPr lang="en-US" sz="1371" dirty="0" smtClean="0"/>
            </a:lvl4pPr>
            <a:lvl5pPr>
              <a:defRPr lang="en-US" sz="1371" dirty="0"/>
            </a:lvl5pPr>
          </a:lstStyle>
          <a:p>
            <a:pPr lvl="0">
              <a:spcBef>
                <a:spcPct val="0"/>
              </a:spcBef>
              <a:buNone/>
            </a:pPr>
            <a:r>
              <a:rPr lang="en-US"/>
              <a:t>Edit Master text styles</a:t>
            </a:r>
          </a:p>
        </p:txBody>
      </p:sp>
      <p:sp>
        <p:nvSpPr>
          <p:cNvPr id="5" name="Text Placeholder 11"/>
          <p:cNvSpPr>
            <a:spLocks noGrp="1"/>
          </p:cNvSpPr>
          <p:nvPr>
            <p:ph type="body" sz="quarter" idx="13" hasCustomPrompt="1"/>
          </p:nvPr>
        </p:nvSpPr>
        <p:spPr>
          <a:xfrm>
            <a:off x="1" y="6734889"/>
            <a:ext cx="7848600" cy="123111"/>
          </a:xfrm>
          <a:prstGeom prst="rect">
            <a:avLst/>
          </a:prstGeom>
        </p:spPr>
        <p:txBody>
          <a:bodyPr anchor="b"/>
          <a:lstStyle>
            <a:lvl1pPr marL="0" indent="0">
              <a:buNone/>
              <a:defRPr sz="800">
                <a:solidFill>
                  <a:schemeClr val="tx1">
                    <a:lumMod val="50000"/>
                  </a:schemeClr>
                </a:solidFill>
              </a:defRPr>
            </a:lvl1pPr>
          </a:lstStyle>
          <a:p>
            <a:pPr lvl="0"/>
            <a:r>
              <a:rPr lang="en-US" sz="800"/>
              <a:t>Source:</a:t>
            </a:r>
            <a:endParaRPr lang="en-US"/>
          </a:p>
        </p:txBody>
      </p:sp>
    </p:spTree>
    <p:extLst>
      <p:ext uri="{BB962C8B-B14F-4D97-AF65-F5344CB8AC3E}">
        <p14:creationId xmlns:p14="http://schemas.microsoft.com/office/powerpoint/2010/main" val="292752828"/>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Section">
    <p:spTree>
      <p:nvGrpSpPr>
        <p:cNvPr id="1" name=""/>
        <p:cNvGrpSpPr/>
        <p:nvPr/>
      </p:nvGrpSpPr>
      <p:grpSpPr>
        <a:xfrm>
          <a:off x="0" y="0"/>
          <a:ext cx="0" cy="0"/>
          <a:chOff x="0" y="0"/>
          <a:chExt cx="0" cy="0"/>
        </a:xfrm>
      </p:grpSpPr>
      <p:sp>
        <p:nvSpPr>
          <p:cNvPr id="2" name="Title 1"/>
          <p:cNvSpPr>
            <a:spLocks noGrp="1"/>
          </p:cNvSpPr>
          <p:nvPr>
            <p:ph type="title"/>
          </p:nvPr>
        </p:nvSpPr>
        <p:spPr>
          <a:xfrm>
            <a:off x="411970" y="3059668"/>
            <a:ext cx="11311107" cy="738664"/>
          </a:xfrm>
        </p:spPr>
        <p:txBody>
          <a:bodyPr anchor="ctr" anchorCtr="0"/>
          <a:lstStyle>
            <a:lvl1pPr>
              <a:defRPr sz="4801" b="0">
                <a:latin typeface="+mn-lt"/>
              </a:defRPr>
            </a:lvl1pPr>
          </a:lstStyle>
          <a:p>
            <a:r>
              <a:rPr lang="en-US"/>
              <a:t>Click to edit Master title style</a:t>
            </a:r>
          </a:p>
        </p:txBody>
      </p:sp>
      <p:grpSp>
        <p:nvGrpSpPr>
          <p:cNvPr id="17" name="Group 16"/>
          <p:cNvGrpSpPr/>
          <p:nvPr userDrawn="1"/>
        </p:nvGrpSpPr>
        <p:grpSpPr>
          <a:xfrm>
            <a:off x="10493815" y="6287141"/>
            <a:ext cx="1229262" cy="261833"/>
            <a:chOff x="3321050" y="454025"/>
            <a:chExt cx="5910263" cy="1258888"/>
          </a:xfrm>
        </p:grpSpPr>
        <p:sp>
          <p:nvSpPr>
            <p:cNvPr id="18" name="Freeform 3"/>
            <p:cNvSpPr>
              <a:spLocks noChangeArrowheads="1"/>
            </p:cNvSpPr>
            <p:nvPr/>
          </p:nvSpPr>
          <p:spPr bwMode="auto">
            <a:xfrm>
              <a:off x="4960938" y="704850"/>
              <a:ext cx="817562" cy="757238"/>
            </a:xfrm>
            <a:custGeom>
              <a:avLst/>
              <a:gdLst>
                <a:gd name="T0" fmla="*/ 1917 w 2272"/>
                <a:gd name="T1" fmla="*/ 489 h 2104"/>
                <a:gd name="T2" fmla="*/ 1917 w 2272"/>
                <a:gd name="T3" fmla="*/ 2103 h 2104"/>
                <a:gd name="T4" fmla="*/ 2271 w 2272"/>
                <a:gd name="T5" fmla="*/ 2103 h 2104"/>
                <a:gd name="T6" fmla="*/ 2271 w 2272"/>
                <a:gd name="T7" fmla="*/ 0 h 2104"/>
                <a:gd name="T8" fmla="*/ 2271 w 2272"/>
                <a:gd name="T9" fmla="*/ 0 h 2104"/>
                <a:gd name="T10" fmla="*/ 1771 w 2272"/>
                <a:gd name="T11" fmla="*/ 0 h 2104"/>
                <a:gd name="T12" fmla="*/ 1135 w 2272"/>
                <a:gd name="T13" fmla="*/ 1561 h 2104"/>
                <a:gd name="T14" fmla="*/ 521 w 2272"/>
                <a:gd name="T15" fmla="*/ 0 h 2104"/>
                <a:gd name="T16" fmla="*/ 0 w 2272"/>
                <a:gd name="T17" fmla="*/ 0 h 2104"/>
                <a:gd name="T18" fmla="*/ 0 w 2272"/>
                <a:gd name="T19" fmla="*/ 2103 h 2104"/>
                <a:gd name="T20" fmla="*/ 344 w 2272"/>
                <a:gd name="T21" fmla="*/ 2103 h 2104"/>
                <a:gd name="T22" fmla="*/ 344 w 2272"/>
                <a:gd name="T23" fmla="*/ 489 h 2104"/>
                <a:gd name="T24" fmla="*/ 354 w 2272"/>
                <a:gd name="T25" fmla="*/ 489 h 2104"/>
                <a:gd name="T26" fmla="*/ 1000 w 2272"/>
                <a:gd name="T27" fmla="*/ 2103 h 2104"/>
                <a:gd name="T28" fmla="*/ 1260 w 2272"/>
                <a:gd name="T29" fmla="*/ 2103 h 2104"/>
                <a:gd name="T30" fmla="*/ 1906 w 2272"/>
                <a:gd name="T31" fmla="*/ 489 h 2104"/>
                <a:gd name="T32" fmla="*/ 1917 w 2272"/>
                <a:gd name="T33" fmla="*/ 489 h 2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72" h="2104">
                  <a:moveTo>
                    <a:pt x="1917" y="489"/>
                  </a:moveTo>
                  <a:lnTo>
                    <a:pt x="1917" y="2103"/>
                  </a:lnTo>
                  <a:lnTo>
                    <a:pt x="2271" y="2103"/>
                  </a:lnTo>
                  <a:lnTo>
                    <a:pt x="2271" y="0"/>
                  </a:lnTo>
                  <a:lnTo>
                    <a:pt x="2271" y="0"/>
                  </a:lnTo>
                  <a:lnTo>
                    <a:pt x="1771" y="0"/>
                  </a:lnTo>
                  <a:lnTo>
                    <a:pt x="1135" y="1561"/>
                  </a:lnTo>
                  <a:lnTo>
                    <a:pt x="521" y="0"/>
                  </a:lnTo>
                  <a:lnTo>
                    <a:pt x="0" y="0"/>
                  </a:lnTo>
                  <a:lnTo>
                    <a:pt x="0" y="2103"/>
                  </a:lnTo>
                  <a:lnTo>
                    <a:pt x="344" y="2103"/>
                  </a:lnTo>
                  <a:lnTo>
                    <a:pt x="344" y="489"/>
                  </a:lnTo>
                  <a:lnTo>
                    <a:pt x="354" y="489"/>
                  </a:lnTo>
                  <a:lnTo>
                    <a:pt x="1000" y="2103"/>
                  </a:lnTo>
                  <a:lnTo>
                    <a:pt x="1260" y="2103"/>
                  </a:lnTo>
                  <a:lnTo>
                    <a:pt x="1906" y="489"/>
                  </a:lnTo>
                  <a:lnTo>
                    <a:pt x="1917" y="489"/>
                  </a:lnTo>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19" name="Freeform 4"/>
            <p:cNvSpPr>
              <a:spLocks noChangeArrowheads="1"/>
            </p:cNvSpPr>
            <p:nvPr/>
          </p:nvSpPr>
          <p:spPr bwMode="auto">
            <a:xfrm>
              <a:off x="5889625" y="688975"/>
              <a:ext cx="153988" cy="773113"/>
            </a:xfrm>
            <a:custGeom>
              <a:avLst/>
              <a:gdLst>
                <a:gd name="T0" fmla="*/ 209 w 428"/>
                <a:gd name="T1" fmla="*/ 0 h 2146"/>
                <a:gd name="T2" fmla="*/ 209 w 428"/>
                <a:gd name="T3" fmla="*/ 0 h 2146"/>
                <a:gd name="T4" fmla="*/ 63 w 428"/>
                <a:gd name="T5" fmla="*/ 52 h 2146"/>
                <a:gd name="T6" fmla="*/ 0 w 428"/>
                <a:gd name="T7" fmla="*/ 208 h 2146"/>
                <a:gd name="T8" fmla="*/ 63 w 428"/>
                <a:gd name="T9" fmla="*/ 344 h 2146"/>
                <a:gd name="T10" fmla="*/ 209 w 428"/>
                <a:gd name="T11" fmla="*/ 406 h 2146"/>
                <a:gd name="T12" fmla="*/ 365 w 428"/>
                <a:gd name="T13" fmla="*/ 344 h 2146"/>
                <a:gd name="T14" fmla="*/ 427 w 428"/>
                <a:gd name="T15" fmla="*/ 208 h 2146"/>
                <a:gd name="T16" fmla="*/ 365 w 428"/>
                <a:gd name="T17" fmla="*/ 62 h 2146"/>
                <a:gd name="T18" fmla="*/ 209 w 428"/>
                <a:gd name="T19" fmla="*/ 0 h 2146"/>
                <a:gd name="T20" fmla="*/ 386 w 428"/>
                <a:gd name="T21" fmla="*/ 635 h 2146"/>
                <a:gd name="T22" fmla="*/ 386 w 428"/>
                <a:gd name="T23" fmla="*/ 635 h 2146"/>
                <a:gd name="T24" fmla="*/ 32 w 428"/>
                <a:gd name="T25" fmla="*/ 635 h 2146"/>
                <a:gd name="T26" fmla="*/ 32 w 428"/>
                <a:gd name="T27" fmla="*/ 2145 h 2146"/>
                <a:gd name="T28" fmla="*/ 386 w 428"/>
                <a:gd name="T29" fmla="*/ 2145 h 2146"/>
                <a:gd name="T30" fmla="*/ 386 w 428"/>
                <a:gd name="T31" fmla="*/ 635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8" h="2146">
                  <a:moveTo>
                    <a:pt x="209" y="0"/>
                  </a:moveTo>
                  <a:lnTo>
                    <a:pt x="209" y="0"/>
                  </a:lnTo>
                  <a:cubicBezTo>
                    <a:pt x="157" y="0"/>
                    <a:pt x="104" y="21"/>
                    <a:pt x="63" y="52"/>
                  </a:cubicBezTo>
                  <a:cubicBezTo>
                    <a:pt x="21" y="94"/>
                    <a:pt x="0" y="146"/>
                    <a:pt x="0" y="208"/>
                  </a:cubicBezTo>
                  <a:cubicBezTo>
                    <a:pt x="0" y="260"/>
                    <a:pt x="21" y="312"/>
                    <a:pt x="63" y="344"/>
                  </a:cubicBezTo>
                  <a:cubicBezTo>
                    <a:pt x="104" y="385"/>
                    <a:pt x="157" y="406"/>
                    <a:pt x="209" y="406"/>
                  </a:cubicBezTo>
                  <a:cubicBezTo>
                    <a:pt x="271" y="406"/>
                    <a:pt x="323" y="385"/>
                    <a:pt x="365" y="344"/>
                  </a:cubicBezTo>
                  <a:cubicBezTo>
                    <a:pt x="407" y="312"/>
                    <a:pt x="427" y="260"/>
                    <a:pt x="427" y="208"/>
                  </a:cubicBezTo>
                  <a:cubicBezTo>
                    <a:pt x="427" y="146"/>
                    <a:pt x="407" y="94"/>
                    <a:pt x="365" y="62"/>
                  </a:cubicBezTo>
                  <a:cubicBezTo>
                    <a:pt x="323" y="21"/>
                    <a:pt x="271" y="0"/>
                    <a:pt x="209" y="0"/>
                  </a:cubicBezTo>
                  <a:close/>
                  <a:moveTo>
                    <a:pt x="386" y="635"/>
                  </a:moveTo>
                  <a:lnTo>
                    <a:pt x="386" y="635"/>
                  </a:lnTo>
                  <a:cubicBezTo>
                    <a:pt x="32" y="635"/>
                    <a:pt x="32" y="635"/>
                    <a:pt x="32" y="635"/>
                  </a:cubicBezTo>
                  <a:cubicBezTo>
                    <a:pt x="32" y="2145"/>
                    <a:pt x="32" y="2145"/>
                    <a:pt x="32" y="2145"/>
                  </a:cubicBezTo>
                  <a:cubicBezTo>
                    <a:pt x="386" y="2145"/>
                    <a:pt x="386" y="2145"/>
                    <a:pt x="386" y="2145"/>
                  </a:cubicBezTo>
                  <a:cubicBezTo>
                    <a:pt x="386" y="635"/>
                    <a:pt x="386" y="635"/>
                    <a:pt x="386" y="635"/>
                  </a:cubicBezTo>
                  <a:close/>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0" name="Freeform 5"/>
            <p:cNvSpPr>
              <a:spLocks noChangeArrowheads="1"/>
            </p:cNvSpPr>
            <p:nvPr/>
          </p:nvSpPr>
          <p:spPr bwMode="auto">
            <a:xfrm>
              <a:off x="6119813" y="906463"/>
              <a:ext cx="423862" cy="566737"/>
            </a:xfrm>
            <a:custGeom>
              <a:avLst/>
              <a:gdLst>
                <a:gd name="T0" fmla="*/ 801 w 1177"/>
                <a:gd name="T1" fmla="*/ 0 h 1573"/>
                <a:gd name="T2" fmla="*/ 801 w 1177"/>
                <a:gd name="T3" fmla="*/ 0 h 1573"/>
                <a:gd name="T4" fmla="*/ 375 w 1177"/>
                <a:gd name="T5" fmla="*/ 104 h 1573"/>
                <a:gd name="T6" fmla="*/ 94 w 1177"/>
                <a:gd name="T7" fmla="*/ 396 h 1573"/>
                <a:gd name="T8" fmla="*/ 0 w 1177"/>
                <a:gd name="T9" fmla="*/ 822 h 1573"/>
                <a:gd name="T10" fmla="*/ 94 w 1177"/>
                <a:gd name="T11" fmla="*/ 1207 h 1573"/>
                <a:gd name="T12" fmla="*/ 354 w 1177"/>
                <a:gd name="T13" fmla="*/ 1478 h 1573"/>
                <a:gd name="T14" fmla="*/ 738 w 1177"/>
                <a:gd name="T15" fmla="*/ 1572 h 1573"/>
                <a:gd name="T16" fmla="*/ 1165 w 1177"/>
                <a:gd name="T17" fmla="*/ 1478 h 1573"/>
                <a:gd name="T18" fmla="*/ 1176 w 1177"/>
                <a:gd name="T19" fmla="*/ 1468 h 1573"/>
                <a:gd name="T20" fmla="*/ 1176 w 1177"/>
                <a:gd name="T21" fmla="*/ 1145 h 1573"/>
                <a:gd name="T22" fmla="*/ 1155 w 1177"/>
                <a:gd name="T23" fmla="*/ 1155 h 1573"/>
                <a:gd name="T24" fmla="*/ 988 w 1177"/>
                <a:gd name="T25" fmla="*/ 1249 h 1573"/>
                <a:gd name="T26" fmla="*/ 811 w 1177"/>
                <a:gd name="T27" fmla="*/ 1280 h 1573"/>
                <a:gd name="T28" fmla="*/ 488 w 1177"/>
                <a:gd name="T29" fmla="*/ 1155 h 1573"/>
                <a:gd name="T30" fmla="*/ 364 w 1177"/>
                <a:gd name="T31" fmla="*/ 791 h 1573"/>
                <a:gd name="T32" fmla="*/ 488 w 1177"/>
                <a:gd name="T33" fmla="*/ 427 h 1573"/>
                <a:gd name="T34" fmla="*/ 822 w 1177"/>
                <a:gd name="T35" fmla="*/ 292 h 1573"/>
                <a:gd name="T36" fmla="*/ 1155 w 1177"/>
                <a:gd name="T37" fmla="*/ 406 h 1573"/>
                <a:gd name="T38" fmla="*/ 1176 w 1177"/>
                <a:gd name="T39" fmla="*/ 417 h 1573"/>
                <a:gd name="T40" fmla="*/ 1176 w 1177"/>
                <a:gd name="T41" fmla="*/ 73 h 1573"/>
                <a:gd name="T42" fmla="*/ 1165 w 1177"/>
                <a:gd name="T43" fmla="*/ 73 h 1573"/>
                <a:gd name="T44" fmla="*/ 999 w 1177"/>
                <a:gd name="T45" fmla="*/ 21 h 1573"/>
                <a:gd name="T46" fmla="*/ 801 w 1177"/>
                <a:gd name="T47" fmla="*/ 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7" h="1573">
                  <a:moveTo>
                    <a:pt x="801" y="0"/>
                  </a:moveTo>
                  <a:lnTo>
                    <a:pt x="801" y="0"/>
                  </a:lnTo>
                  <a:cubicBezTo>
                    <a:pt x="645" y="0"/>
                    <a:pt x="499" y="31"/>
                    <a:pt x="375" y="104"/>
                  </a:cubicBezTo>
                  <a:cubicBezTo>
                    <a:pt x="250" y="167"/>
                    <a:pt x="156" y="271"/>
                    <a:pt x="94" y="396"/>
                  </a:cubicBezTo>
                  <a:cubicBezTo>
                    <a:pt x="31" y="520"/>
                    <a:pt x="0" y="666"/>
                    <a:pt x="0" y="822"/>
                  </a:cubicBezTo>
                  <a:cubicBezTo>
                    <a:pt x="0" y="968"/>
                    <a:pt x="31" y="1093"/>
                    <a:pt x="94" y="1207"/>
                  </a:cubicBezTo>
                  <a:cubicBezTo>
                    <a:pt x="156" y="1322"/>
                    <a:pt x="239" y="1416"/>
                    <a:pt x="354" y="1478"/>
                  </a:cubicBezTo>
                  <a:cubicBezTo>
                    <a:pt x="467" y="1541"/>
                    <a:pt x="593" y="1572"/>
                    <a:pt x="738" y="1572"/>
                  </a:cubicBezTo>
                  <a:cubicBezTo>
                    <a:pt x="905" y="1572"/>
                    <a:pt x="1051" y="1541"/>
                    <a:pt x="1165" y="1478"/>
                  </a:cubicBezTo>
                  <a:cubicBezTo>
                    <a:pt x="1176" y="1468"/>
                    <a:pt x="1176" y="1468"/>
                    <a:pt x="1176" y="1468"/>
                  </a:cubicBezTo>
                  <a:cubicBezTo>
                    <a:pt x="1176" y="1145"/>
                    <a:pt x="1176" y="1145"/>
                    <a:pt x="1176" y="1145"/>
                  </a:cubicBezTo>
                  <a:cubicBezTo>
                    <a:pt x="1155" y="1155"/>
                    <a:pt x="1155" y="1155"/>
                    <a:pt x="1155" y="1155"/>
                  </a:cubicBezTo>
                  <a:cubicBezTo>
                    <a:pt x="1103" y="1197"/>
                    <a:pt x="1051" y="1228"/>
                    <a:pt x="988" y="1249"/>
                  </a:cubicBezTo>
                  <a:cubicBezTo>
                    <a:pt x="926" y="1270"/>
                    <a:pt x="863" y="1280"/>
                    <a:pt x="811" y="1280"/>
                  </a:cubicBezTo>
                  <a:cubicBezTo>
                    <a:pt x="676" y="1280"/>
                    <a:pt x="561" y="1239"/>
                    <a:pt x="488" y="1155"/>
                  </a:cubicBezTo>
                  <a:cubicBezTo>
                    <a:pt x="406" y="1062"/>
                    <a:pt x="364" y="947"/>
                    <a:pt x="364" y="791"/>
                  </a:cubicBezTo>
                  <a:cubicBezTo>
                    <a:pt x="364" y="645"/>
                    <a:pt x="406" y="520"/>
                    <a:pt x="488" y="427"/>
                  </a:cubicBezTo>
                  <a:cubicBezTo>
                    <a:pt x="572" y="333"/>
                    <a:pt x="686" y="292"/>
                    <a:pt x="822" y="292"/>
                  </a:cubicBezTo>
                  <a:cubicBezTo>
                    <a:pt x="936" y="292"/>
                    <a:pt x="1051" y="333"/>
                    <a:pt x="1155" y="406"/>
                  </a:cubicBezTo>
                  <a:cubicBezTo>
                    <a:pt x="1176" y="417"/>
                    <a:pt x="1176" y="417"/>
                    <a:pt x="1176" y="417"/>
                  </a:cubicBezTo>
                  <a:cubicBezTo>
                    <a:pt x="1176" y="73"/>
                    <a:pt x="1176" y="73"/>
                    <a:pt x="1176" y="73"/>
                  </a:cubicBezTo>
                  <a:cubicBezTo>
                    <a:pt x="1165" y="73"/>
                    <a:pt x="1165" y="73"/>
                    <a:pt x="1165" y="73"/>
                  </a:cubicBezTo>
                  <a:cubicBezTo>
                    <a:pt x="1124" y="52"/>
                    <a:pt x="1072" y="31"/>
                    <a:pt x="999" y="21"/>
                  </a:cubicBezTo>
                  <a:cubicBezTo>
                    <a:pt x="936" y="0"/>
                    <a:pt x="874" y="0"/>
                    <a:pt x="801" y="0"/>
                  </a:cubicBezTo>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1" name="Freeform 6"/>
            <p:cNvSpPr>
              <a:spLocks noChangeArrowheads="1"/>
            </p:cNvSpPr>
            <p:nvPr/>
          </p:nvSpPr>
          <p:spPr bwMode="auto">
            <a:xfrm>
              <a:off x="6635750" y="911225"/>
              <a:ext cx="315913" cy="550863"/>
            </a:xfrm>
            <a:custGeom>
              <a:avLst/>
              <a:gdLst>
                <a:gd name="T0" fmla="*/ 354 w 876"/>
                <a:gd name="T1" fmla="*/ 282 h 1532"/>
                <a:gd name="T2" fmla="*/ 354 w 876"/>
                <a:gd name="T3" fmla="*/ 282 h 1532"/>
                <a:gd name="T4" fmla="*/ 354 w 876"/>
                <a:gd name="T5" fmla="*/ 21 h 1532"/>
                <a:gd name="T6" fmla="*/ 0 w 876"/>
                <a:gd name="T7" fmla="*/ 21 h 1532"/>
                <a:gd name="T8" fmla="*/ 0 w 876"/>
                <a:gd name="T9" fmla="*/ 1531 h 1532"/>
                <a:gd name="T10" fmla="*/ 354 w 876"/>
                <a:gd name="T11" fmla="*/ 1531 h 1532"/>
                <a:gd name="T12" fmla="*/ 354 w 876"/>
                <a:gd name="T13" fmla="*/ 760 h 1532"/>
                <a:gd name="T14" fmla="*/ 448 w 876"/>
                <a:gd name="T15" fmla="*/ 438 h 1532"/>
                <a:gd name="T16" fmla="*/ 677 w 876"/>
                <a:gd name="T17" fmla="*/ 313 h 1532"/>
                <a:gd name="T18" fmla="*/ 781 w 876"/>
                <a:gd name="T19" fmla="*/ 334 h 1532"/>
                <a:gd name="T20" fmla="*/ 865 w 876"/>
                <a:gd name="T21" fmla="*/ 365 h 1532"/>
                <a:gd name="T22" fmla="*/ 875 w 876"/>
                <a:gd name="T23" fmla="*/ 375 h 1532"/>
                <a:gd name="T24" fmla="*/ 875 w 876"/>
                <a:gd name="T25" fmla="*/ 21 h 1532"/>
                <a:gd name="T26" fmla="*/ 875 w 876"/>
                <a:gd name="T27" fmla="*/ 21 h 1532"/>
                <a:gd name="T28" fmla="*/ 729 w 876"/>
                <a:gd name="T29" fmla="*/ 0 h 1532"/>
                <a:gd name="T30" fmla="*/ 729 w 876"/>
                <a:gd name="T31" fmla="*/ 0 h 1532"/>
                <a:gd name="T32" fmla="*/ 500 w 876"/>
                <a:gd name="T33" fmla="*/ 84 h 1532"/>
                <a:gd name="T34" fmla="*/ 365 w 876"/>
                <a:gd name="T35" fmla="*/ 282 h 1532"/>
                <a:gd name="T36" fmla="*/ 354 w 876"/>
                <a:gd name="T37" fmla="*/ 282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6" h="1532">
                  <a:moveTo>
                    <a:pt x="354" y="282"/>
                  </a:moveTo>
                  <a:lnTo>
                    <a:pt x="354" y="282"/>
                  </a:lnTo>
                  <a:cubicBezTo>
                    <a:pt x="354" y="21"/>
                    <a:pt x="354" y="21"/>
                    <a:pt x="354" y="21"/>
                  </a:cubicBezTo>
                  <a:cubicBezTo>
                    <a:pt x="0" y="21"/>
                    <a:pt x="0" y="21"/>
                    <a:pt x="0" y="21"/>
                  </a:cubicBezTo>
                  <a:cubicBezTo>
                    <a:pt x="0" y="1531"/>
                    <a:pt x="0" y="1531"/>
                    <a:pt x="0" y="1531"/>
                  </a:cubicBezTo>
                  <a:cubicBezTo>
                    <a:pt x="354" y="1531"/>
                    <a:pt x="354" y="1531"/>
                    <a:pt x="354" y="1531"/>
                  </a:cubicBezTo>
                  <a:cubicBezTo>
                    <a:pt x="354" y="760"/>
                    <a:pt x="354" y="760"/>
                    <a:pt x="354" y="760"/>
                  </a:cubicBezTo>
                  <a:cubicBezTo>
                    <a:pt x="354" y="624"/>
                    <a:pt x="386" y="520"/>
                    <a:pt x="448" y="438"/>
                  </a:cubicBezTo>
                  <a:cubicBezTo>
                    <a:pt x="500" y="355"/>
                    <a:pt x="584" y="313"/>
                    <a:pt x="677" y="313"/>
                  </a:cubicBezTo>
                  <a:cubicBezTo>
                    <a:pt x="709" y="313"/>
                    <a:pt x="740" y="323"/>
                    <a:pt x="781" y="334"/>
                  </a:cubicBezTo>
                  <a:cubicBezTo>
                    <a:pt x="823" y="344"/>
                    <a:pt x="844" y="355"/>
                    <a:pt x="865" y="365"/>
                  </a:cubicBezTo>
                  <a:cubicBezTo>
                    <a:pt x="875" y="375"/>
                    <a:pt x="875" y="375"/>
                    <a:pt x="875" y="375"/>
                  </a:cubicBezTo>
                  <a:cubicBezTo>
                    <a:pt x="875" y="21"/>
                    <a:pt x="875" y="21"/>
                    <a:pt x="875" y="21"/>
                  </a:cubicBezTo>
                  <a:lnTo>
                    <a:pt x="875" y="21"/>
                  </a:lnTo>
                  <a:cubicBezTo>
                    <a:pt x="844" y="0"/>
                    <a:pt x="792" y="0"/>
                    <a:pt x="729" y="0"/>
                  </a:cubicBezTo>
                  <a:lnTo>
                    <a:pt x="729" y="0"/>
                  </a:lnTo>
                  <a:cubicBezTo>
                    <a:pt x="646" y="0"/>
                    <a:pt x="563" y="21"/>
                    <a:pt x="500" y="84"/>
                  </a:cubicBezTo>
                  <a:cubicBezTo>
                    <a:pt x="438" y="136"/>
                    <a:pt x="396" y="198"/>
                    <a:pt x="365" y="282"/>
                  </a:cubicBezTo>
                  <a:lnTo>
                    <a:pt x="354" y="282"/>
                  </a:lnTo>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2" name="Freeform 7"/>
            <p:cNvSpPr>
              <a:spLocks noChangeArrowheads="1"/>
            </p:cNvSpPr>
            <p:nvPr/>
          </p:nvSpPr>
          <p:spPr bwMode="auto">
            <a:xfrm>
              <a:off x="6962775" y="906463"/>
              <a:ext cx="555625" cy="566737"/>
            </a:xfrm>
            <a:custGeom>
              <a:avLst/>
              <a:gdLst>
                <a:gd name="T0" fmla="*/ 791 w 1542"/>
                <a:gd name="T1" fmla="*/ 0 h 1573"/>
                <a:gd name="T2" fmla="*/ 791 w 1542"/>
                <a:gd name="T3" fmla="*/ 0 h 1573"/>
                <a:gd name="T4" fmla="*/ 208 w 1542"/>
                <a:gd name="T5" fmla="*/ 208 h 1573"/>
                <a:gd name="T6" fmla="*/ 0 w 1542"/>
                <a:gd name="T7" fmla="*/ 801 h 1573"/>
                <a:gd name="T8" fmla="*/ 197 w 1542"/>
                <a:gd name="T9" fmla="*/ 1364 h 1573"/>
                <a:gd name="T10" fmla="*/ 760 w 1542"/>
                <a:gd name="T11" fmla="*/ 1572 h 1573"/>
                <a:gd name="T12" fmla="*/ 1333 w 1542"/>
                <a:gd name="T13" fmla="*/ 1353 h 1573"/>
                <a:gd name="T14" fmla="*/ 1541 w 1542"/>
                <a:gd name="T15" fmla="*/ 770 h 1573"/>
                <a:gd name="T16" fmla="*/ 1343 w 1542"/>
                <a:gd name="T17" fmla="*/ 208 h 1573"/>
                <a:gd name="T18" fmla="*/ 791 w 1542"/>
                <a:gd name="T19" fmla="*/ 0 h 1573"/>
                <a:gd name="T20" fmla="*/ 781 w 1542"/>
                <a:gd name="T21" fmla="*/ 1280 h 1573"/>
                <a:gd name="T22" fmla="*/ 781 w 1542"/>
                <a:gd name="T23" fmla="*/ 1280 h 1573"/>
                <a:gd name="T24" fmla="*/ 468 w 1542"/>
                <a:gd name="T25" fmla="*/ 1155 h 1573"/>
                <a:gd name="T26" fmla="*/ 364 w 1542"/>
                <a:gd name="T27" fmla="*/ 791 h 1573"/>
                <a:gd name="T28" fmla="*/ 468 w 1542"/>
                <a:gd name="T29" fmla="*/ 417 h 1573"/>
                <a:gd name="T30" fmla="*/ 770 w 1542"/>
                <a:gd name="T31" fmla="*/ 292 h 1573"/>
                <a:gd name="T32" fmla="*/ 1062 w 1542"/>
                <a:gd name="T33" fmla="*/ 417 h 1573"/>
                <a:gd name="T34" fmla="*/ 1177 w 1542"/>
                <a:gd name="T35" fmla="*/ 780 h 1573"/>
                <a:gd name="T36" fmla="*/ 1072 w 1542"/>
                <a:gd name="T37" fmla="*/ 1155 h 1573"/>
                <a:gd name="T38" fmla="*/ 781 w 1542"/>
                <a:gd name="T39" fmla="*/ 128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42" h="1573">
                  <a:moveTo>
                    <a:pt x="791" y="0"/>
                  </a:moveTo>
                  <a:lnTo>
                    <a:pt x="791" y="0"/>
                  </a:lnTo>
                  <a:cubicBezTo>
                    <a:pt x="541" y="0"/>
                    <a:pt x="343" y="73"/>
                    <a:pt x="208" y="208"/>
                  </a:cubicBezTo>
                  <a:cubicBezTo>
                    <a:pt x="62" y="354"/>
                    <a:pt x="0" y="551"/>
                    <a:pt x="0" y="801"/>
                  </a:cubicBezTo>
                  <a:cubicBezTo>
                    <a:pt x="0" y="1041"/>
                    <a:pt x="62" y="1228"/>
                    <a:pt x="197" y="1364"/>
                  </a:cubicBezTo>
                  <a:cubicBezTo>
                    <a:pt x="343" y="1499"/>
                    <a:pt x="520" y="1572"/>
                    <a:pt x="760" y="1572"/>
                  </a:cubicBezTo>
                  <a:cubicBezTo>
                    <a:pt x="1000" y="1572"/>
                    <a:pt x="1187" y="1499"/>
                    <a:pt x="1333" y="1353"/>
                  </a:cubicBezTo>
                  <a:cubicBezTo>
                    <a:pt x="1468" y="1207"/>
                    <a:pt x="1541" y="1009"/>
                    <a:pt x="1541" y="770"/>
                  </a:cubicBezTo>
                  <a:cubicBezTo>
                    <a:pt x="1541" y="530"/>
                    <a:pt x="1479" y="344"/>
                    <a:pt x="1343" y="208"/>
                  </a:cubicBezTo>
                  <a:cubicBezTo>
                    <a:pt x="1208" y="63"/>
                    <a:pt x="1020" y="0"/>
                    <a:pt x="791" y="0"/>
                  </a:cubicBezTo>
                  <a:close/>
                  <a:moveTo>
                    <a:pt x="781" y="1280"/>
                  </a:moveTo>
                  <a:lnTo>
                    <a:pt x="781" y="1280"/>
                  </a:lnTo>
                  <a:cubicBezTo>
                    <a:pt x="645" y="1280"/>
                    <a:pt x="541" y="1239"/>
                    <a:pt x="468" y="1155"/>
                  </a:cubicBezTo>
                  <a:cubicBezTo>
                    <a:pt x="395" y="1072"/>
                    <a:pt x="364" y="947"/>
                    <a:pt x="364" y="791"/>
                  </a:cubicBezTo>
                  <a:cubicBezTo>
                    <a:pt x="364" y="634"/>
                    <a:pt x="395" y="509"/>
                    <a:pt x="468" y="417"/>
                  </a:cubicBezTo>
                  <a:cubicBezTo>
                    <a:pt x="541" y="333"/>
                    <a:pt x="645" y="292"/>
                    <a:pt x="770" y="292"/>
                  </a:cubicBezTo>
                  <a:cubicBezTo>
                    <a:pt x="895" y="292"/>
                    <a:pt x="1000" y="333"/>
                    <a:pt x="1062" y="417"/>
                  </a:cubicBezTo>
                  <a:cubicBezTo>
                    <a:pt x="1135" y="500"/>
                    <a:pt x="1177" y="624"/>
                    <a:pt x="1177" y="780"/>
                  </a:cubicBezTo>
                  <a:cubicBezTo>
                    <a:pt x="1177" y="947"/>
                    <a:pt x="1145" y="1072"/>
                    <a:pt x="1072" y="1155"/>
                  </a:cubicBezTo>
                  <a:cubicBezTo>
                    <a:pt x="1010" y="1239"/>
                    <a:pt x="906" y="1280"/>
                    <a:pt x="781" y="1280"/>
                  </a:cubicBezTo>
                  <a:close/>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3" name="Freeform 8"/>
            <p:cNvSpPr>
              <a:spLocks noChangeArrowheads="1"/>
            </p:cNvSpPr>
            <p:nvPr/>
          </p:nvSpPr>
          <p:spPr bwMode="auto">
            <a:xfrm>
              <a:off x="7577138" y="906463"/>
              <a:ext cx="360362" cy="566737"/>
            </a:xfrm>
            <a:custGeom>
              <a:avLst/>
              <a:gdLst>
                <a:gd name="T0" fmla="*/ 583 w 1001"/>
                <a:gd name="T1" fmla="*/ 0 h 1573"/>
                <a:gd name="T2" fmla="*/ 583 w 1001"/>
                <a:gd name="T3" fmla="*/ 0 h 1573"/>
                <a:gd name="T4" fmla="*/ 167 w 1001"/>
                <a:gd name="T5" fmla="*/ 125 h 1573"/>
                <a:gd name="T6" fmla="*/ 0 w 1001"/>
                <a:gd name="T7" fmla="*/ 458 h 1573"/>
                <a:gd name="T8" fmla="*/ 42 w 1001"/>
                <a:gd name="T9" fmla="*/ 645 h 1573"/>
                <a:gd name="T10" fmla="*/ 146 w 1001"/>
                <a:gd name="T11" fmla="*/ 780 h 1573"/>
                <a:gd name="T12" fmla="*/ 364 w 1001"/>
                <a:gd name="T13" fmla="*/ 905 h 1573"/>
                <a:gd name="T14" fmla="*/ 542 w 1001"/>
                <a:gd name="T15" fmla="*/ 989 h 1573"/>
                <a:gd name="T16" fmla="*/ 625 w 1001"/>
                <a:gd name="T17" fmla="*/ 1062 h 1573"/>
                <a:gd name="T18" fmla="*/ 646 w 1001"/>
                <a:gd name="T19" fmla="*/ 1145 h 1573"/>
                <a:gd name="T20" fmla="*/ 417 w 1001"/>
                <a:gd name="T21" fmla="*/ 1291 h 1573"/>
                <a:gd name="T22" fmla="*/ 219 w 1001"/>
                <a:gd name="T23" fmla="*/ 1259 h 1573"/>
                <a:gd name="T24" fmla="*/ 21 w 1001"/>
                <a:gd name="T25" fmla="*/ 1155 h 1573"/>
                <a:gd name="T26" fmla="*/ 0 w 1001"/>
                <a:gd name="T27" fmla="*/ 1145 h 1573"/>
                <a:gd name="T28" fmla="*/ 0 w 1001"/>
                <a:gd name="T29" fmla="*/ 1489 h 1573"/>
                <a:gd name="T30" fmla="*/ 10 w 1001"/>
                <a:gd name="T31" fmla="*/ 1489 h 1573"/>
                <a:gd name="T32" fmla="*/ 198 w 1001"/>
                <a:gd name="T33" fmla="*/ 1551 h 1573"/>
                <a:gd name="T34" fmla="*/ 396 w 1001"/>
                <a:gd name="T35" fmla="*/ 1572 h 1573"/>
                <a:gd name="T36" fmla="*/ 844 w 1001"/>
                <a:gd name="T37" fmla="*/ 1447 h 1573"/>
                <a:gd name="T38" fmla="*/ 1000 w 1001"/>
                <a:gd name="T39" fmla="*/ 1103 h 1573"/>
                <a:gd name="T40" fmla="*/ 917 w 1001"/>
                <a:gd name="T41" fmla="*/ 843 h 1573"/>
                <a:gd name="T42" fmla="*/ 614 w 1001"/>
                <a:gd name="T43" fmla="*/ 655 h 1573"/>
                <a:gd name="T44" fmla="*/ 406 w 1001"/>
                <a:gd name="T45" fmla="*/ 541 h 1573"/>
                <a:gd name="T46" fmla="*/ 364 w 1001"/>
                <a:gd name="T47" fmla="*/ 427 h 1573"/>
                <a:gd name="T48" fmla="*/ 417 w 1001"/>
                <a:gd name="T49" fmla="*/ 323 h 1573"/>
                <a:gd name="T50" fmla="*/ 562 w 1001"/>
                <a:gd name="T51" fmla="*/ 281 h 1573"/>
                <a:gd name="T52" fmla="*/ 750 w 1001"/>
                <a:gd name="T53" fmla="*/ 302 h 1573"/>
                <a:gd name="T54" fmla="*/ 906 w 1001"/>
                <a:gd name="T55" fmla="*/ 375 h 1573"/>
                <a:gd name="T56" fmla="*/ 927 w 1001"/>
                <a:gd name="T57" fmla="*/ 385 h 1573"/>
                <a:gd name="T58" fmla="*/ 927 w 1001"/>
                <a:gd name="T59" fmla="*/ 63 h 1573"/>
                <a:gd name="T60" fmla="*/ 917 w 1001"/>
                <a:gd name="T61" fmla="*/ 63 h 1573"/>
                <a:gd name="T62" fmla="*/ 760 w 1001"/>
                <a:gd name="T63" fmla="*/ 21 h 1573"/>
                <a:gd name="T64" fmla="*/ 583 w 1001"/>
                <a:gd name="T65" fmla="*/ 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1" h="1573">
                  <a:moveTo>
                    <a:pt x="583" y="0"/>
                  </a:moveTo>
                  <a:lnTo>
                    <a:pt x="583" y="0"/>
                  </a:lnTo>
                  <a:cubicBezTo>
                    <a:pt x="406" y="0"/>
                    <a:pt x="271" y="42"/>
                    <a:pt x="167" y="125"/>
                  </a:cubicBezTo>
                  <a:cubicBezTo>
                    <a:pt x="52" y="208"/>
                    <a:pt x="0" y="323"/>
                    <a:pt x="0" y="458"/>
                  </a:cubicBezTo>
                  <a:cubicBezTo>
                    <a:pt x="0" y="530"/>
                    <a:pt x="10" y="593"/>
                    <a:pt x="42" y="645"/>
                  </a:cubicBezTo>
                  <a:cubicBezTo>
                    <a:pt x="62" y="697"/>
                    <a:pt x="94" y="749"/>
                    <a:pt x="146" y="780"/>
                  </a:cubicBezTo>
                  <a:cubicBezTo>
                    <a:pt x="187" y="822"/>
                    <a:pt x="260" y="864"/>
                    <a:pt x="364" y="905"/>
                  </a:cubicBezTo>
                  <a:cubicBezTo>
                    <a:pt x="448" y="937"/>
                    <a:pt x="500" y="968"/>
                    <a:pt x="542" y="989"/>
                  </a:cubicBezTo>
                  <a:cubicBezTo>
                    <a:pt x="583" y="1009"/>
                    <a:pt x="604" y="1030"/>
                    <a:pt x="625" y="1062"/>
                  </a:cubicBezTo>
                  <a:cubicBezTo>
                    <a:pt x="635" y="1082"/>
                    <a:pt x="646" y="1103"/>
                    <a:pt x="646" y="1145"/>
                  </a:cubicBezTo>
                  <a:cubicBezTo>
                    <a:pt x="646" y="1239"/>
                    <a:pt x="573" y="1291"/>
                    <a:pt x="417" y="1291"/>
                  </a:cubicBezTo>
                  <a:cubicBezTo>
                    <a:pt x="354" y="1291"/>
                    <a:pt x="292" y="1280"/>
                    <a:pt x="219" y="1259"/>
                  </a:cubicBezTo>
                  <a:cubicBezTo>
                    <a:pt x="146" y="1228"/>
                    <a:pt x="73" y="1197"/>
                    <a:pt x="21" y="1155"/>
                  </a:cubicBezTo>
                  <a:cubicBezTo>
                    <a:pt x="0" y="1145"/>
                    <a:pt x="0" y="1145"/>
                    <a:pt x="0" y="1145"/>
                  </a:cubicBezTo>
                  <a:cubicBezTo>
                    <a:pt x="0" y="1489"/>
                    <a:pt x="0" y="1489"/>
                    <a:pt x="0" y="1489"/>
                  </a:cubicBezTo>
                  <a:cubicBezTo>
                    <a:pt x="10" y="1489"/>
                    <a:pt x="10" y="1489"/>
                    <a:pt x="10" y="1489"/>
                  </a:cubicBezTo>
                  <a:cubicBezTo>
                    <a:pt x="62" y="1520"/>
                    <a:pt x="125" y="1530"/>
                    <a:pt x="198" y="1551"/>
                  </a:cubicBezTo>
                  <a:cubicBezTo>
                    <a:pt x="271" y="1562"/>
                    <a:pt x="344" y="1572"/>
                    <a:pt x="396" y="1572"/>
                  </a:cubicBezTo>
                  <a:cubicBezTo>
                    <a:pt x="583" y="1572"/>
                    <a:pt x="729" y="1530"/>
                    <a:pt x="844" y="1447"/>
                  </a:cubicBezTo>
                  <a:cubicBezTo>
                    <a:pt x="948" y="1364"/>
                    <a:pt x="1000" y="1239"/>
                    <a:pt x="1000" y="1103"/>
                  </a:cubicBezTo>
                  <a:cubicBezTo>
                    <a:pt x="1000" y="999"/>
                    <a:pt x="969" y="916"/>
                    <a:pt x="917" y="843"/>
                  </a:cubicBezTo>
                  <a:cubicBezTo>
                    <a:pt x="854" y="770"/>
                    <a:pt x="760" y="707"/>
                    <a:pt x="614" y="655"/>
                  </a:cubicBezTo>
                  <a:cubicBezTo>
                    <a:pt x="500" y="614"/>
                    <a:pt x="437" y="572"/>
                    <a:pt x="406" y="541"/>
                  </a:cubicBezTo>
                  <a:cubicBezTo>
                    <a:pt x="375" y="520"/>
                    <a:pt x="364" y="479"/>
                    <a:pt x="364" y="427"/>
                  </a:cubicBezTo>
                  <a:cubicBezTo>
                    <a:pt x="364" y="385"/>
                    <a:pt x="375" y="354"/>
                    <a:pt x="417" y="323"/>
                  </a:cubicBezTo>
                  <a:cubicBezTo>
                    <a:pt x="448" y="292"/>
                    <a:pt x="500" y="281"/>
                    <a:pt x="562" y="281"/>
                  </a:cubicBezTo>
                  <a:cubicBezTo>
                    <a:pt x="625" y="281"/>
                    <a:pt x="687" y="292"/>
                    <a:pt x="750" y="302"/>
                  </a:cubicBezTo>
                  <a:cubicBezTo>
                    <a:pt x="812" y="323"/>
                    <a:pt x="864" y="354"/>
                    <a:pt x="906" y="375"/>
                  </a:cubicBezTo>
                  <a:cubicBezTo>
                    <a:pt x="927" y="385"/>
                    <a:pt x="927" y="385"/>
                    <a:pt x="927" y="385"/>
                  </a:cubicBezTo>
                  <a:cubicBezTo>
                    <a:pt x="927" y="63"/>
                    <a:pt x="927" y="63"/>
                    <a:pt x="927" y="63"/>
                  </a:cubicBezTo>
                  <a:cubicBezTo>
                    <a:pt x="917" y="63"/>
                    <a:pt x="917" y="63"/>
                    <a:pt x="917" y="63"/>
                  </a:cubicBezTo>
                  <a:cubicBezTo>
                    <a:pt x="875" y="42"/>
                    <a:pt x="823" y="31"/>
                    <a:pt x="760" y="21"/>
                  </a:cubicBezTo>
                  <a:cubicBezTo>
                    <a:pt x="687" y="0"/>
                    <a:pt x="635" y="0"/>
                    <a:pt x="583" y="0"/>
                  </a:cubicBezTo>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4" name="Freeform 9"/>
            <p:cNvSpPr>
              <a:spLocks noChangeArrowheads="1"/>
            </p:cNvSpPr>
            <p:nvPr/>
          </p:nvSpPr>
          <p:spPr bwMode="auto">
            <a:xfrm>
              <a:off x="7993063" y="906463"/>
              <a:ext cx="558800" cy="566737"/>
            </a:xfrm>
            <a:custGeom>
              <a:avLst/>
              <a:gdLst>
                <a:gd name="T0" fmla="*/ 802 w 1553"/>
                <a:gd name="T1" fmla="*/ 0 h 1573"/>
                <a:gd name="T2" fmla="*/ 802 w 1553"/>
                <a:gd name="T3" fmla="*/ 0 h 1573"/>
                <a:gd name="T4" fmla="*/ 208 w 1553"/>
                <a:gd name="T5" fmla="*/ 208 h 1573"/>
                <a:gd name="T6" fmla="*/ 0 w 1553"/>
                <a:gd name="T7" fmla="*/ 801 h 1573"/>
                <a:gd name="T8" fmla="*/ 208 w 1553"/>
                <a:gd name="T9" fmla="*/ 1364 h 1573"/>
                <a:gd name="T10" fmla="*/ 761 w 1553"/>
                <a:gd name="T11" fmla="*/ 1572 h 1573"/>
                <a:gd name="T12" fmla="*/ 1333 w 1553"/>
                <a:gd name="T13" fmla="*/ 1353 h 1573"/>
                <a:gd name="T14" fmla="*/ 1552 w 1553"/>
                <a:gd name="T15" fmla="*/ 770 h 1573"/>
                <a:gd name="T16" fmla="*/ 1344 w 1553"/>
                <a:gd name="T17" fmla="*/ 208 h 1573"/>
                <a:gd name="T18" fmla="*/ 802 w 1553"/>
                <a:gd name="T19" fmla="*/ 0 h 1573"/>
                <a:gd name="T20" fmla="*/ 781 w 1553"/>
                <a:gd name="T21" fmla="*/ 1280 h 1573"/>
                <a:gd name="T22" fmla="*/ 781 w 1553"/>
                <a:gd name="T23" fmla="*/ 1280 h 1573"/>
                <a:gd name="T24" fmla="*/ 479 w 1553"/>
                <a:gd name="T25" fmla="*/ 1155 h 1573"/>
                <a:gd name="T26" fmla="*/ 365 w 1553"/>
                <a:gd name="T27" fmla="*/ 791 h 1573"/>
                <a:gd name="T28" fmla="*/ 479 w 1553"/>
                <a:gd name="T29" fmla="*/ 417 h 1573"/>
                <a:gd name="T30" fmla="*/ 781 w 1553"/>
                <a:gd name="T31" fmla="*/ 292 h 1573"/>
                <a:gd name="T32" fmla="*/ 1073 w 1553"/>
                <a:gd name="T33" fmla="*/ 417 h 1573"/>
                <a:gd name="T34" fmla="*/ 1177 w 1553"/>
                <a:gd name="T35" fmla="*/ 780 h 1573"/>
                <a:gd name="T36" fmla="*/ 1083 w 1553"/>
                <a:gd name="T37" fmla="*/ 1155 h 1573"/>
                <a:gd name="T38" fmla="*/ 781 w 1553"/>
                <a:gd name="T39" fmla="*/ 128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53" h="1573">
                  <a:moveTo>
                    <a:pt x="802" y="0"/>
                  </a:moveTo>
                  <a:lnTo>
                    <a:pt x="802" y="0"/>
                  </a:lnTo>
                  <a:cubicBezTo>
                    <a:pt x="552" y="0"/>
                    <a:pt x="354" y="73"/>
                    <a:pt x="208" y="208"/>
                  </a:cubicBezTo>
                  <a:cubicBezTo>
                    <a:pt x="73" y="354"/>
                    <a:pt x="0" y="551"/>
                    <a:pt x="0" y="801"/>
                  </a:cubicBezTo>
                  <a:cubicBezTo>
                    <a:pt x="0" y="1041"/>
                    <a:pt x="73" y="1228"/>
                    <a:pt x="208" y="1364"/>
                  </a:cubicBezTo>
                  <a:cubicBezTo>
                    <a:pt x="344" y="1499"/>
                    <a:pt x="531" y="1572"/>
                    <a:pt x="761" y="1572"/>
                  </a:cubicBezTo>
                  <a:cubicBezTo>
                    <a:pt x="1000" y="1572"/>
                    <a:pt x="1198" y="1499"/>
                    <a:pt x="1333" y="1353"/>
                  </a:cubicBezTo>
                  <a:cubicBezTo>
                    <a:pt x="1479" y="1207"/>
                    <a:pt x="1552" y="1009"/>
                    <a:pt x="1552" y="770"/>
                  </a:cubicBezTo>
                  <a:cubicBezTo>
                    <a:pt x="1552" y="530"/>
                    <a:pt x="1479" y="344"/>
                    <a:pt x="1344" y="208"/>
                  </a:cubicBezTo>
                  <a:cubicBezTo>
                    <a:pt x="1219" y="63"/>
                    <a:pt x="1031" y="0"/>
                    <a:pt x="802" y="0"/>
                  </a:cubicBezTo>
                  <a:close/>
                  <a:moveTo>
                    <a:pt x="781" y="1280"/>
                  </a:moveTo>
                  <a:lnTo>
                    <a:pt x="781" y="1280"/>
                  </a:lnTo>
                  <a:cubicBezTo>
                    <a:pt x="656" y="1280"/>
                    <a:pt x="552" y="1239"/>
                    <a:pt x="479" y="1155"/>
                  </a:cubicBezTo>
                  <a:cubicBezTo>
                    <a:pt x="406" y="1072"/>
                    <a:pt x="365" y="947"/>
                    <a:pt x="365" y="791"/>
                  </a:cubicBezTo>
                  <a:cubicBezTo>
                    <a:pt x="365" y="634"/>
                    <a:pt x="406" y="509"/>
                    <a:pt x="479" y="417"/>
                  </a:cubicBezTo>
                  <a:cubicBezTo>
                    <a:pt x="552" y="333"/>
                    <a:pt x="646" y="292"/>
                    <a:pt x="781" y="292"/>
                  </a:cubicBezTo>
                  <a:cubicBezTo>
                    <a:pt x="906" y="292"/>
                    <a:pt x="1000" y="333"/>
                    <a:pt x="1073" y="417"/>
                  </a:cubicBezTo>
                  <a:cubicBezTo>
                    <a:pt x="1146" y="500"/>
                    <a:pt x="1177" y="624"/>
                    <a:pt x="1177" y="780"/>
                  </a:cubicBezTo>
                  <a:cubicBezTo>
                    <a:pt x="1177" y="947"/>
                    <a:pt x="1146" y="1072"/>
                    <a:pt x="1083" y="1155"/>
                  </a:cubicBezTo>
                  <a:cubicBezTo>
                    <a:pt x="1011" y="1239"/>
                    <a:pt x="917" y="1280"/>
                    <a:pt x="781" y="1280"/>
                  </a:cubicBezTo>
                  <a:close/>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5" name="Freeform 10"/>
            <p:cNvSpPr>
              <a:spLocks noChangeArrowheads="1"/>
            </p:cNvSpPr>
            <p:nvPr/>
          </p:nvSpPr>
          <p:spPr bwMode="auto">
            <a:xfrm>
              <a:off x="8562975" y="647700"/>
              <a:ext cx="668338" cy="825500"/>
            </a:xfrm>
            <a:custGeom>
              <a:avLst/>
              <a:gdLst>
                <a:gd name="T0" fmla="*/ 1855 w 1856"/>
                <a:gd name="T1" fmla="*/ 1042 h 2292"/>
                <a:gd name="T2" fmla="*/ 1855 w 1856"/>
                <a:gd name="T3" fmla="*/ 1042 h 2292"/>
                <a:gd name="T4" fmla="*/ 1855 w 1856"/>
                <a:gd name="T5" fmla="*/ 750 h 2292"/>
                <a:gd name="T6" fmla="*/ 1490 w 1856"/>
                <a:gd name="T7" fmla="*/ 750 h 2292"/>
                <a:gd name="T8" fmla="*/ 1490 w 1856"/>
                <a:gd name="T9" fmla="*/ 302 h 2292"/>
                <a:gd name="T10" fmla="*/ 1480 w 1856"/>
                <a:gd name="T11" fmla="*/ 313 h 2292"/>
                <a:gd name="T12" fmla="*/ 1146 w 1856"/>
                <a:gd name="T13" fmla="*/ 407 h 2292"/>
                <a:gd name="T14" fmla="*/ 1136 w 1856"/>
                <a:gd name="T15" fmla="*/ 417 h 2292"/>
                <a:gd name="T16" fmla="*/ 1136 w 1856"/>
                <a:gd name="T17" fmla="*/ 750 h 2292"/>
                <a:gd name="T18" fmla="*/ 605 w 1856"/>
                <a:gd name="T19" fmla="*/ 750 h 2292"/>
                <a:gd name="T20" fmla="*/ 605 w 1856"/>
                <a:gd name="T21" fmla="*/ 563 h 2292"/>
                <a:gd name="T22" fmla="*/ 667 w 1856"/>
                <a:gd name="T23" fmla="*/ 365 h 2292"/>
                <a:gd name="T24" fmla="*/ 834 w 1856"/>
                <a:gd name="T25" fmla="*/ 292 h 2292"/>
                <a:gd name="T26" fmla="*/ 990 w 1856"/>
                <a:gd name="T27" fmla="*/ 334 h 2292"/>
                <a:gd name="T28" fmla="*/ 1000 w 1856"/>
                <a:gd name="T29" fmla="*/ 334 h 2292"/>
                <a:gd name="T30" fmla="*/ 1000 w 1856"/>
                <a:gd name="T31" fmla="*/ 32 h 2292"/>
                <a:gd name="T32" fmla="*/ 990 w 1856"/>
                <a:gd name="T33" fmla="*/ 32 h 2292"/>
                <a:gd name="T34" fmla="*/ 792 w 1856"/>
                <a:gd name="T35" fmla="*/ 0 h 2292"/>
                <a:gd name="T36" fmla="*/ 511 w 1856"/>
                <a:gd name="T37" fmla="*/ 73 h 2292"/>
                <a:gd name="T38" fmla="*/ 313 w 1856"/>
                <a:gd name="T39" fmla="*/ 261 h 2292"/>
                <a:gd name="T40" fmla="*/ 250 w 1856"/>
                <a:gd name="T41" fmla="*/ 542 h 2292"/>
                <a:gd name="T42" fmla="*/ 250 w 1856"/>
                <a:gd name="T43" fmla="*/ 750 h 2292"/>
                <a:gd name="T44" fmla="*/ 0 w 1856"/>
                <a:gd name="T45" fmla="*/ 750 h 2292"/>
                <a:gd name="T46" fmla="*/ 0 w 1856"/>
                <a:gd name="T47" fmla="*/ 1042 h 2292"/>
                <a:gd name="T48" fmla="*/ 250 w 1856"/>
                <a:gd name="T49" fmla="*/ 1042 h 2292"/>
                <a:gd name="T50" fmla="*/ 250 w 1856"/>
                <a:gd name="T51" fmla="*/ 2260 h 2292"/>
                <a:gd name="T52" fmla="*/ 605 w 1856"/>
                <a:gd name="T53" fmla="*/ 2260 h 2292"/>
                <a:gd name="T54" fmla="*/ 605 w 1856"/>
                <a:gd name="T55" fmla="*/ 1042 h 2292"/>
                <a:gd name="T56" fmla="*/ 1136 w 1856"/>
                <a:gd name="T57" fmla="*/ 1042 h 2292"/>
                <a:gd name="T58" fmla="*/ 1136 w 1856"/>
                <a:gd name="T59" fmla="*/ 1812 h 2292"/>
                <a:gd name="T60" fmla="*/ 1584 w 1856"/>
                <a:gd name="T61" fmla="*/ 2291 h 2292"/>
                <a:gd name="T62" fmla="*/ 1740 w 1856"/>
                <a:gd name="T63" fmla="*/ 2281 h 2292"/>
                <a:gd name="T64" fmla="*/ 1844 w 1856"/>
                <a:gd name="T65" fmla="*/ 2239 h 2292"/>
                <a:gd name="T66" fmla="*/ 1855 w 1856"/>
                <a:gd name="T67" fmla="*/ 2239 h 2292"/>
                <a:gd name="T68" fmla="*/ 1855 w 1856"/>
                <a:gd name="T69" fmla="*/ 1947 h 2292"/>
                <a:gd name="T70" fmla="*/ 1834 w 1856"/>
                <a:gd name="T71" fmla="*/ 1958 h 2292"/>
                <a:gd name="T72" fmla="*/ 1761 w 1856"/>
                <a:gd name="T73" fmla="*/ 1989 h 2292"/>
                <a:gd name="T74" fmla="*/ 1698 w 1856"/>
                <a:gd name="T75" fmla="*/ 1999 h 2292"/>
                <a:gd name="T76" fmla="*/ 1542 w 1856"/>
                <a:gd name="T77" fmla="*/ 1947 h 2292"/>
                <a:gd name="T78" fmla="*/ 1490 w 1856"/>
                <a:gd name="T79" fmla="*/ 1749 h 2292"/>
                <a:gd name="T80" fmla="*/ 1490 w 1856"/>
                <a:gd name="T81" fmla="*/ 1042 h 2292"/>
                <a:gd name="T82" fmla="*/ 1855 w 1856"/>
                <a:gd name="T83" fmla="*/ 1042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2292">
                  <a:moveTo>
                    <a:pt x="1855" y="1042"/>
                  </a:moveTo>
                  <a:lnTo>
                    <a:pt x="1855" y="1042"/>
                  </a:lnTo>
                  <a:cubicBezTo>
                    <a:pt x="1855" y="750"/>
                    <a:pt x="1855" y="750"/>
                    <a:pt x="1855" y="750"/>
                  </a:cubicBezTo>
                  <a:cubicBezTo>
                    <a:pt x="1490" y="750"/>
                    <a:pt x="1490" y="750"/>
                    <a:pt x="1490" y="750"/>
                  </a:cubicBezTo>
                  <a:cubicBezTo>
                    <a:pt x="1490" y="302"/>
                    <a:pt x="1490" y="302"/>
                    <a:pt x="1490" y="302"/>
                  </a:cubicBezTo>
                  <a:cubicBezTo>
                    <a:pt x="1480" y="313"/>
                    <a:pt x="1480" y="313"/>
                    <a:pt x="1480" y="313"/>
                  </a:cubicBezTo>
                  <a:cubicBezTo>
                    <a:pt x="1146" y="407"/>
                    <a:pt x="1146" y="407"/>
                    <a:pt x="1146" y="407"/>
                  </a:cubicBezTo>
                  <a:cubicBezTo>
                    <a:pt x="1136" y="417"/>
                    <a:pt x="1136" y="417"/>
                    <a:pt x="1136" y="417"/>
                  </a:cubicBezTo>
                  <a:cubicBezTo>
                    <a:pt x="1136" y="750"/>
                    <a:pt x="1136" y="750"/>
                    <a:pt x="1136" y="750"/>
                  </a:cubicBezTo>
                  <a:cubicBezTo>
                    <a:pt x="605" y="750"/>
                    <a:pt x="605" y="750"/>
                    <a:pt x="605" y="750"/>
                  </a:cubicBezTo>
                  <a:cubicBezTo>
                    <a:pt x="605" y="563"/>
                    <a:pt x="605" y="563"/>
                    <a:pt x="605" y="563"/>
                  </a:cubicBezTo>
                  <a:cubicBezTo>
                    <a:pt x="605" y="479"/>
                    <a:pt x="625" y="407"/>
                    <a:pt x="667" y="365"/>
                  </a:cubicBezTo>
                  <a:cubicBezTo>
                    <a:pt x="709" y="323"/>
                    <a:pt x="761" y="292"/>
                    <a:pt x="834" y="292"/>
                  </a:cubicBezTo>
                  <a:cubicBezTo>
                    <a:pt x="875" y="292"/>
                    <a:pt x="938" y="302"/>
                    <a:pt x="990" y="334"/>
                  </a:cubicBezTo>
                  <a:cubicBezTo>
                    <a:pt x="1000" y="334"/>
                    <a:pt x="1000" y="334"/>
                    <a:pt x="1000" y="334"/>
                  </a:cubicBezTo>
                  <a:cubicBezTo>
                    <a:pt x="1000" y="32"/>
                    <a:pt x="1000" y="32"/>
                    <a:pt x="1000" y="32"/>
                  </a:cubicBezTo>
                  <a:cubicBezTo>
                    <a:pt x="990" y="32"/>
                    <a:pt x="990" y="32"/>
                    <a:pt x="990" y="32"/>
                  </a:cubicBezTo>
                  <a:cubicBezTo>
                    <a:pt x="948" y="11"/>
                    <a:pt x="875" y="0"/>
                    <a:pt x="792" y="0"/>
                  </a:cubicBezTo>
                  <a:cubicBezTo>
                    <a:pt x="688" y="0"/>
                    <a:pt x="594" y="32"/>
                    <a:pt x="511" y="73"/>
                  </a:cubicBezTo>
                  <a:cubicBezTo>
                    <a:pt x="428" y="115"/>
                    <a:pt x="365" y="177"/>
                    <a:pt x="313" y="261"/>
                  </a:cubicBezTo>
                  <a:cubicBezTo>
                    <a:pt x="271" y="344"/>
                    <a:pt x="250" y="438"/>
                    <a:pt x="250" y="542"/>
                  </a:cubicBezTo>
                  <a:cubicBezTo>
                    <a:pt x="250" y="750"/>
                    <a:pt x="250" y="750"/>
                    <a:pt x="250" y="750"/>
                  </a:cubicBezTo>
                  <a:cubicBezTo>
                    <a:pt x="0" y="750"/>
                    <a:pt x="0" y="750"/>
                    <a:pt x="0" y="750"/>
                  </a:cubicBezTo>
                  <a:cubicBezTo>
                    <a:pt x="0" y="1042"/>
                    <a:pt x="0" y="1042"/>
                    <a:pt x="0" y="1042"/>
                  </a:cubicBezTo>
                  <a:cubicBezTo>
                    <a:pt x="250" y="1042"/>
                    <a:pt x="250" y="1042"/>
                    <a:pt x="250" y="1042"/>
                  </a:cubicBezTo>
                  <a:cubicBezTo>
                    <a:pt x="250" y="2260"/>
                    <a:pt x="250" y="2260"/>
                    <a:pt x="250" y="2260"/>
                  </a:cubicBezTo>
                  <a:cubicBezTo>
                    <a:pt x="605" y="2260"/>
                    <a:pt x="605" y="2260"/>
                    <a:pt x="605" y="2260"/>
                  </a:cubicBezTo>
                  <a:cubicBezTo>
                    <a:pt x="605" y="1042"/>
                    <a:pt x="605" y="1042"/>
                    <a:pt x="605" y="1042"/>
                  </a:cubicBezTo>
                  <a:cubicBezTo>
                    <a:pt x="1136" y="1042"/>
                    <a:pt x="1136" y="1042"/>
                    <a:pt x="1136" y="1042"/>
                  </a:cubicBezTo>
                  <a:cubicBezTo>
                    <a:pt x="1136" y="1812"/>
                    <a:pt x="1136" y="1812"/>
                    <a:pt x="1136" y="1812"/>
                  </a:cubicBezTo>
                  <a:cubicBezTo>
                    <a:pt x="1136" y="2135"/>
                    <a:pt x="1292" y="2291"/>
                    <a:pt x="1584" y="2291"/>
                  </a:cubicBezTo>
                  <a:cubicBezTo>
                    <a:pt x="1636" y="2291"/>
                    <a:pt x="1688" y="2291"/>
                    <a:pt x="1740" y="2281"/>
                  </a:cubicBezTo>
                  <a:cubicBezTo>
                    <a:pt x="1792" y="2260"/>
                    <a:pt x="1823" y="2249"/>
                    <a:pt x="1844" y="2239"/>
                  </a:cubicBezTo>
                  <a:cubicBezTo>
                    <a:pt x="1855" y="2239"/>
                    <a:pt x="1855" y="2239"/>
                    <a:pt x="1855" y="2239"/>
                  </a:cubicBezTo>
                  <a:cubicBezTo>
                    <a:pt x="1855" y="1947"/>
                    <a:pt x="1855" y="1947"/>
                    <a:pt x="1855" y="1947"/>
                  </a:cubicBezTo>
                  <a:cubicBezTo>
                    <a:pt x="1834" y="1958"/>
                    <a:pt x="1834" y="1958"/>
                    <a:pt x="1834" y="1958"/>
                  </a:cubicBezTo>
                  <a:cubicBezTo>
                    <a:pt x="1813" y="1968"/>
                    <a:pt x="1792" y="1978"/>
                    <a:pt x="1761" y="1989"/>
                  </a:cubicBezTo>
                  <a:cubicBezTo>
                    <a:pt x="1740" y="1999"/>
                    <a:pt x="1709" y="1999"/>
                    <a:pt x="1698" y="1999"/>
                  </a:cubicBezTo>
                  <a:cubicBezTo>
                    <a:pt x="1625" y="1999"/>
                    <a:pt x="1573" y="1978"/>
                    <a:pt x="1542" y="1947"/>
                  </a:cubicBezTo>
                  <a:cubicBezTo>
                    <a:pt x="1511" y="1906"/>
                    <a:pt x="1490" y="1843"/>
                    <a:pt x="1490" y="1749"/>
                  </a:cubicBezTo>
                  <a:cubicBezTo>
                    <a:pt x="1490" y="1042"/>
                    <a:pt x="1490" y="1042"/>
                    <a:pt x="1490" y="1042"/>
                  </a:cubicBezTo>
                  <a:lnTo>
                    <a:pt x="1855" y="1042"/>
                  </a:lnTo>
                </a:path>
              </a:pathLst>
            </a:custGeom>
            <a:solidFill>
              <a:schemeClr val="tx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6" name="Freeform 11"/>
            <p:cNvSpPr>
              <a:spLocks noChangeArrowheads="1"/>
            </p:cNvSpPr>
            <p:nvPr/>
          </p:nvSpPr>
          <p:spPr bwMode="auto">
            <a:xfrm>
              <a:off x="3321050" y="454025"/>
              <a:ext cx="600075" cy="600075"/>
            </a:xfrm>
            <a:custGeom>
              <a:avLst/>
              <a:gdLst>
                <a:gd name="T0" fmla="*/ 1667 w 1668"/>
                <a:gd name="T1" fmla="*/ 1666 h 1667"/>
                <a:gd name="T2" fmla="*/ 0 w 1668"/>
                <a:gd name="T3" fmla="*/ 1666 h 1667"/>
                <a:gd name="T4" fmla="*/ 0 w 1668"/>
                <a:gd name="T5" fmla="*/ 0 h 1667"/>
                <a:gd name="T6" fmla="*/ 1667 w 1668"/>
                <a:gd name="T7" fmla="*/ 0 h 1667"/>
                <a:gd name="T8" fmla="*/ 1667 w 1668"/>
                <a:gd name="T9" fmla="*/ 1666 h 1667"/>
              </a:gdLst>
              <a:ahLst/>
              <a:cxnLst>
                <a:cxn ang="0">
                  <a:pos x="T0" y="T1"/>
                </a:cxn>
                <a:cxn ang="0">
                  <a:pos x="T2" y="T3"/>
                </a:cxn>
                <a:cxn ang="0">
                  <a:pos x="T4" y="T5"/>
                </a:cxn>
                <a:cxn ang="0">
                  <a:pos x="T6" y="T7"/>
                </a:cxn>
                <a:cxn ang="0">
                  <a:pos x="T8" y="T9"/>
                </a:cxn>
              </a:cxnLst>
              <a:rect l="0" t="0" r="r" b="b"/>
              <a:pathLst>
                <a:path w="1668" h="1667">
                  <a:moveTo>
                    <a:pt x="1667" y="1666"/>
                  </a:moveTo>
                  <a:lnTo>
                    <a:pt x="0" y="1666"/>
                  </a:lnTo>
                  <a:lnTo>
                    <a:pt x="0" y="0"/>
                  </a:lnTo>
                  <a:lnTo>
                    <a:pt x="1667" y="0"/>
                  </a:lnTo>
                  <a:lnTo>
                    <a:pt x="1667" y="1666"/>
                  </a:lnTo>
                </a:path>
              </a:pathLst>
            </a:custGeom>
            <a:solidFill>
              <a:srgbClr val="F2652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7" name="Freeform 12"/>
            <p:cNvSpPr>
              <a:spLocks noChangeArrowheads="1"/>
            </p:cNvSpPr>
            <p:nvPr/>
          </p:nvSpPr>
          <p:spPr bwMode="auto">
            <a:xfrm>
              <a:off x="3986213" y="454025"/>
              <a:ext cx="596900" cy="600075"/>
            </a:xfrm>
            <a:custGeom>
              <a:avLst/>
              <a:gdLst>
                <a:gd name="T0" fmla="*/ 1656 w 1657"/>
                <a:gd name="T1" fmla="*/ 1666 h 1667"/>
                <a:gd name="T2" fmla="*/ 0 w 1657"/>
                <a:gd name="T3" fmla="*/ 1666 h 1667"/>
                <a:gd name="T4" fmla="*/ 0 w 1657"/>
                <a:gd name="T5" fmla="*/ 0 h 1667"/>
                <a:gd name="T6" fmla="*/ 1656 w 1657"/>
                <a:gd name="T7" fmla="*/ 0 h 1667"/>
                <a:gd name="T8" fmla="*/ 1656 w 1657"/>
                <a:gd name="T9" fmla="*/ 1666 h 1667"/>
              </a:gdLst>
              <a:ahLst/>
              <a:cxnLst>
                <a:cxn ang="0">
                  <a:pos x="T0" y="T1"/>
                </a:cxn>
                <a:cxn ang="0">
                  <a:pos x="T2" y="T3"/>
                </a:cxn>
                <a:cxn ang="0">
                  <a:pos x="T4" y="T5"/>
                </a:cxn>
                <a:cxn ang="0">
                  <a:pos x="T6" y="T7"/>
                </a:cxn>
                <a:cxn ang="0">
                  <a:pos x="T8" y="T9"/>
                </a:cxn>
              </a:cxnLst>
              <a:rect l="0" t="0" r="r" b="b"/>
              <a:pathLst>
                <a:path w="1657" h="1667">
                  <a:moveTo>
                    <a:pt x="1656" y="1666"/>
                  </a:moveTo>
                  <a:lnTo>
                    <a:pt x="0" y="1666"/>
                  </a:lnTo>
                  <a:lnTo>
                    <a:pt x="0" y="0"/>
                  </a:lnTo>
                  <a:lnTo>
                    <a:pt x="1656" y="0"/>
                  </a:lnTo>
                  <a:lnTo>
                    <a:pt x="1656" y="1666"/>
                  </a:lnTo>
                </a:path>
              </a:pathLst>
            </a:custGeom>
            <a:solidFill>
              <a:srgbClr val="8DC63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8" name="Freeform 13"/>
            <p:cNvSpPr>
              <a:spLocks noChangeArrowheads="1"/>
            </p:cNvSpPr>
            <p:nvPr/>
          </p:nvSpPr>
          <p:spPr bwMode="auto">
            <a:xfrm>
              <a:off x="3321050" y="1112838"/>
              <a:ext cx="600075" cy="600075"/>
            </a:xfrm>
            <a:custGeom>
              <a:avLst/>
              <a:gdLst>
                <a:gd name="T0" fmla="*/ 1667 w 1668"/>
                <a:gd name="T1" fmla="*/ 1667 h 1668"/>
                <a:gd name="T2" fmla="*/ 0 w 1668"/>
                <a:gd name="T3" fmla="*/ 1667 h 1668"/>
                <a:gd name="T4" fmla="*/ 0 w 1668"/>
                <a:gd name="T5" fmla="*/ 0 h 1668"/>
                <a:gd name="T6" fmla="*/ 1667 w 1668"/>
                <a:gd name="T7" fmla="*/ 0 h 1668"/>
                <a:gd name="T8" fmla="*/ 1667 w 1668"/>
                <a:gd name="T9" fmla="*/ 1667 h 1668"/>
              </a:gdLst>
              <a:ahLst/>
              <a:cxnLst>
                <a:cxn ang="0">
                  <a:pos x="T0" y="T1"/>
                </a:cxn>
                <a:cxn ang="0">
                  <a:pos x="T2" y="T3"/>
                </a:cxn>
                <a:cxn ang="0">
                  <a:pos x="T4" y="T5"/>
                </a:cxn>
                <a:cxn ang="0">
                  <a:pos x="T6" y="T7"/>
                </a:cxn>
                <a:cxn ang="0">
                  <a:pos x="T8" y="T9"/>
                </a:cxn>
              </a:cxnLst>
              <a:rect l="0" t="0" r="r" b="b"/>
              <a:pathLst>
                <a:path w="1668" h="1668">
                  <a:moveTo>
                    <a:pt x="1667" y="1667"/>
                  </a:moveTo>
                  <a:lnTo>
                    <a:pt x="0" y="1667"/>
                  </a:lnTo>
                  <a:lnTo>
                    <a:pt x="0" y="0"/>
                  </a:lnTo>
                  <a:lnTo>
                    <a:pt x="1667" y="0"/>
                  </a:lnTo>
                  <a:lnTo>
                    <a:pt x="1667" y="1667"/>
                  </a:lnTo>
                </a:path>
              </a:pathLst>
            </a:custGeom>
            <a:solidFill>
              <a:srgbClr val="00AE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9" name="Freeform 14"/>
            <p:cNvSpPr>
              <a:spLocks noChangeArrowheads="1"/>
            </p:cNvSpPr>
            <p:nvPr/>
          </p:nvSpPr>
          <p:spPr bwMode="auto">
            <a:xfrm>
              <a:off x="3986213" y="1112838"/>
              <a:ext cx="596900" cy="600075"/>
            </a:xfrm>
            <a:custGeom>
              <a:avLst/>
              <a:gdLst>
                <a:gd name="T0" fmla="*/ 1656 w 1657"/>
                <a:gd name="T1" fmla="*/ 1667 h 1668"/>
                <a:gd name="T2" fmla="*/ 0 w 1657"/>
                <a:gd name="T3" fmla="*/ 1667 h 1668"/>
                <a:gd name="T4" fmla="*/ 0 w 1657"/>
                <a:gd name="T5" fmla="*/ 0 h 1668"/>
                <a:gd name="T6" fmla="*/ 1656 w 1657"/>
                <a:gd name="T7" fmla="*/ 0 h 1668"/>
                <a:gd name="T8" fmla="*/ 1656 w 1657"/>
                <a:gd name="T9" fmla="*/ 1667 h 1668"/>
              </a:gdLst>
              <a:ahLst/>
              <a:cxnLst>
                <a:cxn ang="0">
                  <a:pos x="T0" y="T1"/>
                </a:cxn>
                <a:cxn ang="0">
                  <a:pos x="T2" y="T3"/>
                </a:cxn>
                <a:cxn ang="0">
                  <a:pos x="T4" y="T5"/>
                </a:cxn>
                <a:cxn ang="0">
                  <a:pos x="T6" y="T7"/>
                </a:cxn>
                <a:cxn ang="0">
                  <a:pos x="T8" y="T9"/>
                </a:cxn>
              </a:cxnLst>
              <a:rect l="0" t="0" r="r" b="b"/>
              <a:pathLst>
                <a:path w="1657" h="1668">
                  <a:moveTo>
                    <a:pt x="1656" y="1667"/>
                  </a:moveTo>
                  <a:lnTo>
                    <a:pt x="0" y="1667"/>
                  </a:lnTo>
                  <a:lnTo>
                    <a:pt x="0" y="0"/>
                  </a:lnTo>
                  <a:lnTo>
                    <a:pt x="1656" y="0"/>
                  </a:lnTo>
                  <a:lnTo>
                    <a:pt x="1656" y="1667"/>
                  </a:lnTo>
                </a:path>
              </a:pathLst>
            </a:custGeom>
            <a:solidFill>
              <a:srgbClr val="FFC20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grpSp>
    </p:spTree>
    <p:extLst>
      <p:ext uri="{BB962C8B-B14F-4D97-AF65-F5344CB8AC3E}">
        <p14:creationId xmlns:p14="http://schemas.microsoft.com/office/powerpoint/2010/main" val="29887886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Dark Title_bod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0"/>
          </p:nvPr>
        </p:nvSpPr>
        <p:spPr>
          <a:xfrm>
            <a:off x="412751" y="1188720"/>
            <a:ext cx="11310326"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21441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Dark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470759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7B9E93-35D7-42A9-9FD9-96BA380FFF27}"/>
              </a:ext>
            </a:extLst>
          </p:cNvPr>
          <p:cNvSpPr>
            <a:spLocks noGrp="1"/>
          </p:cNvSpPr>
          <p:nvPr>
            <p:ph type="ctrTitle"/>
          </p:nvPr>
        </p:nvSpPr>
        <p:spPr>
          <a:xfrm>
            <a:off x="1524000" y="1664644"/>
            <a:ext cx="9144000" cy="1845318"/>
          </a:xfrm>
        </p:spPr>
        <p:txBody>
          <a:bodyPr anchor="b"/>
          <a:lstStyle>
            <a:lvl1pPr algn="ctr">
              <a:defRPr sz="5995"/>
            </a:lvl1pPr>
          </a:lstStyle>
          <a:p>
            <a:r>
              <a:rPr lang="en-US"/>
              <a:t>Click to edit Master title style</a:t>
            </a:r>
          </a:p>
        </p:txBody>
      </p:sp>
      <p:sp>
        <p:nvSpPr>
          <p:cNvPr id="3" name="Subtitle 2">
            <a:extLst>
              <a:ext uri="{FF2B5EF4-FFF2-40B4-BE49-F238E27FC236}">
                <a16:creationId xmlns:a16="http://schemas.microsoft.com/office/drawing/2014/main" id="{CCB730EE-CF2C-4295-A0DD-070F51156EEE}"/>
              </a:ext>
            </a:extLst>
          </p:cNvPr>
          <p:cNvSpPr>
            <a:spLocks noGrp="1"/>
          </p:cNvSpPr>
          <p:nvPr>
            <p:ph type="subTitle" idx="1"/>
          </p:nvPr>
        </p:nvSpPr>
        <p:spPr>
          <a:xfrm>
            <a:off x="1524000" y="3602039"/>
            <a:ext cx="9144000" cy="369353"/>
          </a:xfrm>
        </p:spPr>
        <p:txBody>
          <a:bodyPr/>
          <a:lstStyle>
            <a:lvl1pPr marL="0" indent="0" algn="ctr">
              <a:buNone/>
              <a:defRPr sz="2400"/>
            </a:lvl1pPr>
            <a:lvl2pPr marL="456943" indent="0" algn="ctr">
              <a:buNone/>
              <a:defRPr sz="2000"/>
            </a:lvl2pPr>
            <a:lvl3pPr marL="913885" indent="0" algn="ctr">
              <a:buNone/>
              <a:defRPr sz="1800"/>
            </a:lvl3pPr>
            <a:lvl4pPr marL="1370827" indent="0" algn="ctr">
              <a:buNone/>
              <a:defRPr sz="1600"/>
            </a:lvl4pPr>
            <a:lvl5pPr marL="1827769" indent="0" algn="ctr">
              <a:buNone/>
              <a:defRPr sz="1600"/>
            </a:lvl5pPr>
            <a:lvl6pPr marL="2284710" indent="0" algn="ctr">
              <a:buNone/>
              <a:defRPr sz="1600"/>
            </a:lvl6pPr>
            <a:lvl7pPr marL="2741653" indent="0" algn="ctr">
              <a:buNone/>
              <a:defRPr sz="1600"/>
            </a:lvl7pPr>
            <a:lvl8pPr marL="3198595" indent="0" algn="ctr">
              <a:buNone/>
              <a:defRPr sz="1600"/>
            </a:lvl8pPr>
            <a:lvl9pPr marL="3655536"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75F07D1-3B84-4514-968F-1FD65AFC4CAA}"/>
              </a:ext>
            </a:extLst>
          </p:cNvPr>
          <p:cNvSpPr>
            <a:spLocks noGrp="1"/>
          </p:cNvSpPr>
          <p:nvPr>
            <p:ph type="dt" sz="half" idx="10"/>
          </p:nvPr>
        </p:nvSpPr>
        <p:spPr/>
        <p:txBody>
          <a:bodyPr/>
          <a:lstStyle/>
          <a:p>
            <a:fld id="{CCEB13D1-EBBE-47BB-9DAE-539913719DED}" type="datetimeFigureOut">
              <a:rPr lang="en-US" smtClean="0"/>
              <a:t>3/29/2021</a:t>
            </a:fld>
            <a:endParaRPr lang="en-US"/>
          </a:p>
        </p:txBody>
      </p:sp>
      <p:sp>
        <p:nvSpPr>
          <p:cNvPr id="5" name="Footer Placeholder 4">
            <a:extLst>
              <a:ext uri="{FF2B5EF4-FFF2-40B4-BE49-F238E27FC236}">
                <a16:creationId xmlns:a16="http://schemas.microsoft.com/office/drawing/2014/main" id="{6905CE6B-6BDC-496F-8498-59A773D1B5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DD3A43-6632-4011-A3D3-C64540BAF3B9}"/>
              </a:ext>
            </a:extLst>
          </p:cNvPr>
          <p:cNvSpPr>
            <a:spLocks noGrp="1"/>
          </p:cNvSpPr>
          <p:nvPr>
            <p:ph type="sldNum" sz="quarter" idx="12"/>
          </p:nvPr>
        </p:nvSpPr>
        <p:spPr/>
        <p:txBody>
          <a:bodyPr/>
          <a:lstStyle/>
          <a:p>
            <a:fld id="{40CCAD98-6F6D-490C-A484-BDCA98790F2E}" type="slidenum">
              <a:rPr lang="en-US" smtClean="0"/>
              <a:t>‹#›</a:t>
            </a:fld>
            <a:endParaRPr lang="en-US"/>
          </a:p>
        </p:txBody>
      </p:sp>
    </p:spTree>
    <p:extLst>
      <p:ext uri="{BB962C8B-B14F-4D97-AF65-F5344CB8AC3E}">
        <p14:creationId xmlns:p14="http://schemas.microsoft.com/office/powerpoint/2010/main" val="131584310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80549004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gradFill>
                  <a:gsLst>
                    <a:gs pos="0">
                      <a:schemeClr val="bg1"/>
                    </a:gs>
                    <a:gs pos="100000">
                      <a:schemeClr val="bg1"/>
                    </a:gs>
                  </a:gsLst>
                  <a:lin ang="5400000" scaled="1"/>
                </a:gra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gradFill>
                  <a:gsLst>
                    <a:gs pos="0">
                      <a:schemeClr val="bg1"/>
                    </a:gs>
                    <a:gs pos="100000">
                      <a:schemeClr val="bg1"/>
                    </a:gs>
                  </a:gsLst>
                  <a:lin ang="5400000" scaled="1"/>
                </a:gra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73637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4"/>
            <a:ext cx="11655078"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6814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4"/>
            <a:ext cx="11655840" cy="554061"/>
          </a:xfrm>
        </p:spPr>
        <p:txBody>
          <a:bodyPr/>
          <a:lstStyle/>
          <a:p>
            <a:r>
              <a:rPr lang="en-US"/>
              <a:t>Click to edit Master title style</a:t>
            </a:r>
          </a:p>
        </p:txBody>
      </p:sp>
      <p:sp>
        <p:nvSpPr>
          <p:cNvPr id="4" name="Text Placeholder 3"/>
          <p:cNvSpPr>
            <a:spLocks noGrp="1"/>
          </p:cNvSpPr>
          <p:nvPr>
            <p:ph type="body" sz="quarter" idx="10"/>
          </p:nvPr>
        </p:nvSpPr>
        <p:spPr>
          <a:xfrm>
            <a:off x="6106889" y="1507584"/>
            <a:ext cx="5818194" cy="1797412"/>
          </a:xfrm>
        </p:spPr>
        <p:txBody>
          <a:bodyPr wrap="square">
            <a:spAutoFit/>
          </a:bodyPr>
          <a:lstStyle>
            <a:lvl1pPr marL="0" indent="0">
              <a:buNone/>
              <a:defRPr sz="2800">
                <a:solidFill>
                  <a:schemeClr val="tx1"/>
                </a:solidFill>
              </a:defRPr>
            </a:lvl1pPr>
            <a:lvl2pPr marL="0" indent="0">
              <a:buNone/>
              <a:defRPr sz="2000"/>
            </a:lvl2pPr>
            <a:lvl3pPr marL="0" indent="0">
              <a:buNone/>
              <a:defRPr sz="1800"/>
            </a:lvl3pPr>
            <a:lvl4pPr marL="0" indent="0">
              <a:buNone/>
              <a:defRPr sz="1800"/>
            </a:lvl4pPr>
            <a:lvl5pPr marL="0"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98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C3EDD7-542E-4475-B823-F580C894DAF3}"/>
              </a:ext>
            </a:extLst>
          </p:cNvPr>
          <p:cNvSpPr>
            <a:spLocks noGrp="1"/>
          </p:cNvSpPr>
          <p:nvPr>
            <p:ph type="title"/>
          </p:nvPr>
        </p:nvSpPr>
        <p:spPr>
          <a:xfrm>
            <a:off x="831850" y="3639188"/>
            <a:ext cx="10515600" cy="923288"/>
          </a:xfrm>
        </p:spPr>
        <p:txBody>
          <a:bodyPr anchor="b"/>
          <a:lstStyle>
            <a:lvl1pPr>
              <a:defRPr sz="5998"/>
            </a:lvl1pPr>
          </a:lstStyle>
          <a:p>
            <a:r>
              <a:rPr lang="en-US"/>
              <a:t>Click to edit Master title style</a:t>
            </a:r>
          </a:p>
        </p:txBody>
      </p:sp>
      <p:sp>
        <p:nvSpPr>
          <p:cNvPr id="3" name="Text Placeholder 2">
            <a:extLst>
              <a:ext uri="{FF2B5EF4-FFF2-40B4-BE49-F238E27FC236}">
                <a16:creationId xmlns:a16="http://schemas.microsoft.com/office/drawing/2014/main" id="{CC602074-E0F9-4239-9EEB-6E5FF4511613}"/>
              </a:ext>
            </a:extLst>
          </p:cNvPr>
          <p:cNvSpPr>
            <a:spLocks noGrp="1"/>
          </p:cNvSpPr>
          <p:nvPr>
            <p:ph type="body" idx="1"/>
          </p:nvPr>
        </p:nvSpPr>
        <p:spPr>
          <a:xfrm>
            <a:off x="831850" y="4589464"/>
            <a:ext cx="10515600" cy="369353"/>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7FF1F5FD-FAF7-4EE0-9E52-553221554A7C}"/>
              </a:ext>
            </a:extLst>
          </p:cNvPr>
          <p:cNvSpPr>
            <a:spLocks noGrp="1"/>
          </p:cNvSpPr>
          <p:nvPr>
            <p:ph type="dt" sz="half" idx="10"/>
          </p:nvPr>
        </p:nvSpPr>
        <p:spPr/>
        <p:txBody>
          <a:bodyPr/>
          <a:lstStyle/>
          <a:p>
            <a:fld id="{2289BF51-A98E-4AC0-AA72-40A7703287DF}" type="datetimeFigureOut">
              <a:rPr lang="en-US" smtClean="0"/>
              <a:t>3/29/2021</a:t>
            </a:fld>
            <a:endParaRPr lang="en-US"/>
          </a:p>
        </p:txBody>
      </p:sp>
      <p:sp>
        <p:nvSpPr>
          <p:cNvPr id="5" name="Footer Placeholder 4">
            <a:extLst>
              <a:ext uri="{FF2B5EF4-FFF2-40B4-BE49-F238E27FC236}">
                <a16:creationId xmlns:a16="http://schemas.microsoft.com/office/drawing/2014/main" id="{4AA85474-81D8-40D4-974E-309737F4815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A81C1F-D1AB-4656-9173-6E1FC88B772E}"/>
              </a:ext>
            </a:extLst>
          </p:cNvPr>
          <p:cNvSpPr>
            <a:spLocks noGrp="1"/>
          </p:cNvSpPr>
          <p:nvPr>
            <p:ph type="sldNum" sz="quarter" idx="12"/>
          </p:nvPr>
        </p:nvSpPr>
        <p:spPr/>
        <p:txBody>
          <a:bodyPr/>
          <a:lstStyle/>
          <a:p>
            <a:fld id="{766599BB-C14D-4533-A352-30149C5C5203}" type="slidenum">
              <a:rPr lang="en-US" smtClean="0"/>
              <a:t>‹#›</a:t>
            </a:fld>
            <a:endParaRPr lang="en-US"/>
          </a:p>
        </p:txBody>
      </p:sp>
    </p:spTree>
    <p:extLst>
      <p:ext uri="{BB962C8B-B14F-4D97-AF65-F5344CB8AC3E}">
        <p14:creationId xmlns:p14="http://schemas.microsoft.com/office/powerpoint/2010/main" val="136059278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549853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87440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980275191"/>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218104997"/>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996661480"/>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4231751090"/>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2267171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80278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3745641871"/>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022560436"/>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01897473"/>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782337103"/>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68994874"/>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3157482302"/>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3585444423"/>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105585511"/>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638489693"/>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6892724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2"/>
                    </a:gs>
                    <a:gs pos="100000">
                      <a:schemeClr val="tx2"/>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999530292"/>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187162172"/>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998787511"/>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2951171972"/>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610048297"/>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20726799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5541819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91442398"/>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921224685"/>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1802212280"/>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0873850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06345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899462859"/>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3852797520"/>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333332761"/>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3110733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572441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5349524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4">
                <a:solidFill>
                  <a:schemeClr val="bg2"/>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2622286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4">
                <a:solidFill>
                  <a:schemeClr val="bg2"/>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593725997"/>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56086204"/>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7"/>
            <a:ext cx="5583404" cy="6409831"/>
          </a:xfrm>
          <a:prstGeom prst="rect">
            <a:avLst/>
          </a:prstGeom>
        </p:spPr>
      </p:pic>
    </p:spTree>
    <p:extLst>
      <p:ext uri="{BB962C8B-B14F-4D97-AF65-F5344CB8AC3E}">
        <p14:creationId xmlns:p14="http://schemas.microsoft.com/office/powerpoint/2010/main" val="374015688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77922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3" y="321591"/>
            <a:ext cx="5413537" cy="6214821"/>
          </a:xfrm>
          <a:prstGeom prst="rect">
            <a:avLst/>
          </a:prstGeom>
        </p:spPr>
      </p:pic>
    </p:spTree>
    <p:extLst>
      <p:ext uri="{BB962C8B-B14F-4D97-AF65-F5344CB8AC3E}">
        <p14:creationId xmlns:p14="http://schemas.microsoft.com/office/powerpoint/2010/main" val="1181223853"/>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986946569"/>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2" y="0"/>
            <a:ext cx="6080099" cy="6858000"/>
          </a:xfrm>
          <a:prstGeom prst="rect">
            <a:avLst/>
          </a:prstGeom>
        </p:spPr>
      </p:pic>
    </p:spTree>
    <p:extLst>
      <p:ext uri="{BB962C8B-B14F-4D97-AF65-F5344CB8AC3E}">
        <p14:creationId xmlns:p14="http://schemas.microsoft.com/office/powerpoint/2010/main" val="4141956723"/>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612759394"/>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2285411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528079602"/>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4">
                <a:solidFill>
                  <a:srgbClr val="000000"/>
                </a:solidFill>
              </a:defRPr>
            </a:lvl1pPr>
            <a:lvl2pPr>
              <a:defRPr sz="1764">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4181315058"/>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5"/>
            <a:ext cx="3618381" cy="899665"/>
          </a:xfrm>
          <a:prstGeom prst="rect">
            <a:avLst/>
          </a:prstGeom>
        </p:spPr>
        <p:txBody>
          <a:bodyPr lIns="0" tIns="0" rIns="0" bIns="0"/>
          <a:lstStyle>
            <a:lvl1pPr>
              <a:defRPr sz="1764"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178">
              <a:spcAft>
                <a:spcPts val="490"/>
              </a:spcAft>
              <a:buNone/>
              <a:defRPr sz="1764" spc="0" baseline="0">
                <a:solidFill>
                  <a:schemeClr val="tx2"/>
                </a:solidFill>
              </a:defRPr>
            </a:lvl1pPr>
            <a:lvl2pPr marL="224030" indent="0">
              <a:buNone/>
              <a:defRPr sz="1764"/>
            </a:lvl2pPr>
            <a:lvl3pPr marL="448059" indent="0">
              <a:buNone/>
              <a:defRPr sz="1764"/>
            </a:lvl3pPr>
            <a:lvl4pPr marL="672088" indent="0">
              <a:buNone/>
              <a:defRPr sz="1764"/>
            </a:lvl4pPr>
            <a:lvl5pPr marL="896117" indent="0">
              <a:buNone/>
              <a:defRPr sz="1764"/>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178">
              <a:spcAft>
                <a:spcPts val="490"/>
              </a:spcAft>
              <a:buNone/>
              <a:defRPr sz="1764" spc="0" baseline="0">
                <a:solidFill>
                  <a:srgbClr val="000000"/>
                </a:solidFill>
              </a:defRPr>
            </a:lvl1pPr>
            <a:lvl2pPr marL="224030" indent="0">
              <a:buNone/>
              <a:defRPr sz="1764"/>
            </a:lvl2pPr>
            <a:lvl3pPr marL="448059" indent="0">
              <a:buNone/>
              <a:defRPr sz="1764"/>
            </a:lvl3pPr>
            <a:lvl4pPr marL="672088" indent="0">
              <a:buNone/>
              <a:defRPr sz="1764"/>
            </a:lvl4pPr>
            <a:lvl5pPr marL="896117" indent="0">
              <a:buNone/>
              <a:defRPr sz="1764"/>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1444703430"/>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287771"/>
          </a:xfrm>
          <a:prstGeom prst="rect">
            <a:avLst/>
          </a:prstGeom>
        </p:spPr>
        <p:txBody>
          <a:bodyPr wrap="square" lIns="0" tIns="0" rIns="0" bIns="0">
            <a:spAutoFit/>
          </a:bodyPr>
          <a:lstStyle>
            <a:lvl1pPr marL="0" indent="0">
              <a:lnSpc>
                <a:spcPts val="2352"/>
              </a:lnSpc>
              <a:buNone/>
              <a:defRPr sz="1960" b="0" i="0" spc="0">
                <a:solidFill>
                  <a:srgbClr val="000000"/>
                </a:solidFill>
                <a:latin typeface="+mj-lt"/>
              </a:defRPr>
            </a:lvl1pPr>
            <a:lvl2pPr marL="0" indent="0">
              <a:lnSpc>
                <a:spcPts val="2352"/>
              </a:lnSpc>
              <a:buNone/>
              <a:defRPr spc="0">
                <a:solidFill>
                  <a:srgbClr val="000000"/>
                </a:solidFill>
                <a:latin typeface="+mn-lt"/>
              </a:defRPr>
            </a:lvl2pPr>
            <a:lvl3pPr marL="448059" indent="0">
              <a:buNone/>
              <a:defRPr/>
            </a:lvl3pPr>
            <a:lvl4pPr marL="672088" indent="0">
              <a:buNone/>
              <a:defRPr/>
            </a:lvl4pPr>
            <a:lvl5pPr marL="896117"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4"/>
              </a:lnSpc>
              <a:spcBef>
                <a:spcPts val="0"/>
              </a:spcBef>
              <a:buNone/>
              <a:defRPr sz="1372" b="0" spc="0">
                <a:solidFill>
                  <a:schemeClr val="tx2"/>
                </a:solidFill>
                <a:latin typeface="+mj-lt"/>
              </a:defRPr>
            </a:lvl1pPr>
            <a:lvl2pPr marL="0" indent="0">
              <a:lnSpc>
                <a:spcPts val="1764"/>
              </a:lnSpc>
              <a:spcBef>
                <a:spcPts val="0"/>
              </a:spcBef>
              <a:buNone/>
              <a:defRPr sz="1372" spc="0">
                <a:solidFill>
                  <a:srgbClr val="000000"/>
                </a:solidFill>
              </a:defRPr>
            </a:lvl2pPr>
            <a:lvl3pPr marL="448059" indent="0">
              <a:buNone/>
              <a:defRPr/>
            </a:lvl3pPr>
            <a:lvl4pPr marL="672088" indent="0">
              <a:buNone/>
              <a:defRPr/>
            </a:lvl4pPr>
            <a:lvl5pPr marL="896117"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059" indent="0">
              <a:buNone/>
              <a:defRPr/>
            </a:lvl3pPr>
            <a:lvl4pPr marL="672088"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0" y="4299926"/>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0" y="3258992"/>
            <a:ext cx="11306469" cy="216142"/>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Medium: body copy Segoe UI Regular 14/18</a:t>
            </a:r>
          </a:p>
        </p:txBody>
      </p:sp>
    </p:spTree>
    <p:extLst>
      <p:ext uri="{BB962C8B-B14F-4D97-AF65-F5344CB8AC3E}">
        <p14:creationId xmlns:p14="http://schemas.microsoft.com/office/powerpoint/2010/main" val="1975628411"/>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7"/>
            <a:ext cx="9384447" cy="3365537"/>
          </a:xfrm>
          <a:prstGeom prst="rect">
            <a:avLst/>
          </a:prstGeom>
        </p:spPr>
        <p:txBody>
          <a:bodyPr wrap="square" lIns="0" tIns="0" rIns="0" bIns="0">
            <a:spAutoFit/>
          </a:bodyPr>
          <a:lstStyle>
            <a:lvl1pPr marL="336044" marR="0" indent="-336044" algn="l" defTabSz="914093" rtl="0" eaLnBrk="1" fontAlgn="auto" latinLnBrk="0" hangingPunct="1">
              <a:lnSpc>
                <a:spcPts val="2352"/>
              </a:lnSpc>
              <a:spcBef>
                <a:spcPts val="0"/>
              </a:spcBef>
              <a:spcAft>
                <a:spcPts val="0"/>
              </a:spcAft>
              <a:buClrTx/>
              <a:buSzPct val="90000"/>
              <a:buFont typeface="Arial" panose="020B0604020202020204" pitchFamily="34" charset="0"/>
              <a:buChar char="•"/>
              <a:tabLst/>
              <a:defRPr lang="en-US" sz="1960" kern="1200" spc="0" baseline="0" dirty="0">
                <a:solidFill>
                  <a:srgbClr val="000000"/>
                </a:solidFill>
                <a:latin typeface="+mn-lt"/>
                <a:ea typeface="+mn-ea"/>
                <a:cs typeface="+mn-cs"/>
              </a:defRPr>
            </a:lvl1pPr>
            <a:lvl2pPr marL="224030" indent="0">
              <a:buNone/>
              <a:defRPr/>
            </a:lvl2pPr>
            <a:lvl3pPr marL="448059" indent="0">
              <a:buNone/>
              <a:defRPr/>
            </a:lvl3pPr>
            <a:lvl4pPr marL="672088" indent="0">
              <a:buNone/>
              <a:defRPr/>
            </a:lvl4pPr>
            <a:lvl5pPr marL="896117"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44" marR="0" lvl="0" indent="-336044" algn="l" defTabSz="914093" rtl="0" eaLnBrk="1" fontAlgn="auto" latinLnBrk="0" hangingPunct="1">
              <a:lnSpc>
                <a:spcPts val="2352"/>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44" marR="0" lvl="0" indent="-336044" algn="l" defTabSz="914093" rtl="0" eaLnBrk="1" fontAlgn="auto" latinLnBrk="0" hangingPunct="1">
              <a:lnSpc>
                <a:spcPts val="2352"/>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722503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529334070"/>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7"/>
            <a:ext cx="9384447" cy="603538"/>
          </a:xfrm>
          <a:prstGeom prst="rect">
            <a:avLst/>
          </a:prstGeom>
        </p:spPr>
        <p:txBody>
          <a:bodyPr wrap="square" lIns="0" tIns="0" rIns="0" bIns="0">
            <a:spAutoFit/>
          </a:bodyPr>
          <a:lstStyle>
            <a:lvl1pPr marL="0" indent="0">
              <a:lnSpc>
                <a:spcPts val="2352"/>
              </a:lnSpc>
              <a:buNone/>
              <a:defRPr lang="en-US" sz="1960" kern="1200" spc="0" baseline="0" dirty="0">
                <a:solidFill>
                  <a:srgbClr val="000000"/>
                </a:solidFill>
                <a:latin typeface="+mn-lt"/>
                <a:ea typeface="+mn-ea"/>
                <a:cs typeface="+mn-cs"/>
              </a:defRPr>
            </a:lvl1pPr>
            <a:lvl2pPr marL="224030" indent="0">
              <a:buNone/>
              <a:defRPr/>
            </a:lvl2pPr>
            <a:lvl3pPr marL="448059" indent="0">
              <a:buNone/>
              <a:defRPr/>
            </a:lvl3pPr>
            <a:lvl4pPr marL="672088" indent="0">
              <a:buNone/>
              <a:defRPr/>
            </a:lvl4pPr>
            <a:lvl5pPr marL="89611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4"/>
              </a:lnSpc>
              <a:spcBef>
                <a:spcPts val="0"/>
              </a:spcBef>
              <a:spcAft>
                <a:spcPts val="588"/>
              </a:spcAft>
              <a:buNone/>
              <a:defRPr sz="1372" b="0" spc="0" baseline="0">
                <a:solidFill>
                  <a:schemeClr val="tx2"/>
                </a:solidFill>
                <a:latin typeface="+mj-lt"/>
              </a:defRPr>
            </a:lvl1pPr>
            <a:lvl2pPr marL="280037" marR="0" indent="-280037" algn="l" defTabSz="914093" rtl="0" eaLnBrk="1" fontAlgn="auto" latinLnBrk="0" hangingPunct="1">
              <a:lnSpc>
                <a:spcPts val="1764"/>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059" indent="0">
              <a:buNone/>
              <a:defRPr/>
            </a:lvl3pPr>
            <a:lvl4pPr marL="672088" indent="0">
              <a:buNone/>
              <a:defRPr/>
            </a:lvl4pPr>
            <a:lvl5pPr marL="896117"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16206"/>
          </a:xfrm>
          <a:prstGeom prst="rect">
            <a:avLst/>
          </a:prstGeom>
        </p:spPr>
        <p:txBody>
          <a:bodyPr lIns="0" tIns="0" rIns="0" bIns="0"/>
          <a:lstStyle>
            <a:lvl1pPr marL="0" indent="0">
              <a:lnSpc>
                <a:spcPts val="1764"/>
              </a:lnSpc>
              <a:spcBef>
                <a:spcPts val="0"/>
              </a:spcBef>
              <a:spcAft>
                <a:spcPts val="588"/>
              </a:spcAft>
              <a:buNone/>
              <a:defRPr sz="1372" b="0" spc="0" baseline="0">
                <a:solidFill>
                  <a:schemeClr val="tx2"/>
                </a:solidFill>
                <a:latin typeface="+mj-lt"/>
              </a:defRPr>
            </a:lvl1pPr>
            <a:lvl2pPr marL="280037" marR="0" indent="-280037" algn="l" defTabSz="914093" rtl="0" eaLnBrk="1" fontAlgn="auto" latinLnBrk="0" hangingPunct="1">
              <a:lnSpc>
                <a:spcPts val="1764"/>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059" indent="0">
              <a:buNone/>
              <a:defRPr/>
            </a:lvl3pPr>
            <a:lvl4pPr marL="672088" indent="0">
              <a:buNone/>
              <a:defRPr/>
            </a:lvl4pPr>
            <a:lvl5pPr marL="896117"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16206"/>
          </a:xfrm>
          <a:prstGeom prst="rect">
            <a:avLst/>
          </a:prstGeom>
        </p:spPr>
        <p:txBody>
          <a:bodyPr lIns="0" tIns="0" rIns="0" bIns="0"/>
          <a:lstStyle>
            <a:lvl1pPr marL="0" indent="0">
              <a:lnSpc>
                <a:spcPts val="1764"/>
              </a:lnSpc>
              <a:spcBef>
                <a:spcPts val="0"/>
              </a:spcBef>
              <a:spcAft>
                <a:spcPts val="588"/>
              </a:spcAft>
              <a:buNone/>
              <a:defRPr sz="1372" b="0" spc="0" baseline="0">
                <a:solidFill>
                  <a:schemeClr val="tx2"/>
                </a:solidFill>
                <a:latin typeface="+mj-lt"/>
              </a:defRPr>
            </a:lvl1pPr>
            <a:lvl2pPr marL="280037" marR="0" indent="-280037" algn="l" defTabSz="914093" rtl="0" eaLnBrk="1" fontAlgn="auto" latinLnBrk="0" hangingPunct="1">
              <a:lnSpc>
                <a:spcPts val="1764"/>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059" indent="0">
              <a:buNone/>
              <a:defRPr/>
            </a:lvl3pPr>
            <a:lvl4pPr marL="672088" indent="0">
              <a:buNone/>
              <a:defRPr/>
            </a:lvl4pPr>
            <a:lvl5pPr marL="896117"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0" y="3378439"/>
            <a:ext cx="3618381" cy="2059666"/>
          </a:xfrm>
          <a:prstGeom prst="rect">
            <a:avLst/>
          </a:prstGeom>
        </p:spPr>
        <p:txBody>
          <a:bodyPr lIns="0" tIns="0" rIns="0" bIns="0"/>
          <a:lstStyle>
            <a:lvl1pPr marL="280037" indent="-280037">
              <a:lnSpc>
                <a:spcPts val="1764"/>
              </a:lnSpc>
              <a:spcBef>
                <a:spcPts val="0"/>
              </a:spcBef>
              <a:buFont typeface="Arial" panose="020B0604020202020204" pitchFamily="34" charset="0"/>
              <a:buChar char="•"/>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0" y="3378439"/>
            <a:ext cx="3618381" cy="2059666"/>
          </a:xfrm>
          <a:prstGeom prst="rect">
            <a:avLst/>
          </a:prstGeom>
        </p:spPr>
        <p:txBody>
          <a:bodyPr lIns="0" tIns="0" rIns="0" bIns="0"/>
          <a:lstStyle>
            <a:lvl1pPr marL="280037" indent="-280037">
              <a:lnSpc>
                <a:spcPts val="1764"/>
              </a:lnSpc>
              <a:spcBef>
                <a:spcPts val="0"/>
              </a:spcBef>
              <a:buFont typeface="Arial" panose="020B0604020202020204" pitchFamily="34" charset="0"/>
              <a:buChar char="•"/>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39"/>
            <a:ext cx="3618381" cy="2059666"/>
          </a:xfrm>
          <a:prstGeom prst="rect">
            <a:avLst/>
          </a:prstGeom>
        </p:spPr>
        <p:txBody>
          <a:bodyPr lIns="0" tIns="0" rIns="0" bIns="0"/>
          <a:lstStyle>
            <a:lvl1pPr marL="280037" indent="-280037">
              <a:lnSpc>
                <a:spcPts val="1764"/>
              </a:lnSpc>
              <a:spcBef>
                <a:spcPts val="0"/>
              </a:spcBef>
              <a:buFont typeface="Arial" panose="020B0604020202020204" pitchFamily="34" charset="0"/>
              <a:buChar char="•"/>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751584009"/>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4"/>
              </a:lnSpc>
              <a:spcBef>
                <a:spcPts val="1200"/>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4"/>
              </a:lnSpc>
              <a:spcBef>
                <a:spcPts val="1200"/>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49"/>
            <a:ext cx="3618381" cy="2059666"/>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49"/>
            <a:ext cx="3618381" cy="2059666"/>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27238303"/>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8" y="1599724"/>
            <a:ext cx="3609417" cy="3108047"/>
          </a:xfrm>
          <a:prstGeom prst="rect">
            <a:avLst/>
          </a:prstGeom>
        </p:spPr>
      </p:pic>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4"/>
              </a:lnSpc>
              <a:spcBef>
                <a:spcPts val="1200"/>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indent="0">
              <a:lnSpc>
                <a:spcPts val="1764"/>
              </a:lnSpc>
              <a:spcBef>
                <a:spcPts val="1200"/>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4"/>
              </a:lnSpc>
              <a:spcBef>
                <a:spcPts val="1200"/>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3" y="2882155"/>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2"/>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3" y="2888937"/>
            <a:ext cx="3609043" cy="543185"/>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8" y="5157653"/>
            <a:ext cx="3618381" cy="905504"/>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4" y="5157653"/>
            <a:ext cx="3618381" cy="905504"/>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089993236"/>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7"/>
            <a:ext cx="1693247" cy="442532"/>
          </a:xfrm>
          <a:prstGeom prst="rect">
            <a:avLst/>
          </a:prstGeom>
        </p:spPr>
        <p:txBody>
          <a:bodyPr lIns="0" tIns="0" rIns="0" bIns="0"/>
          <a:lstStyle>
            <a:lvl1pPr marL="0" indent="0">
              <a:lnSpc>
                <a:spcPts val="1764"/>
              </a:lnSpc>
              <a:spcBef>
                <a:spcPts val="882"/>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6" y="3167817"/>
            <a:ext cx="1693247" cy="442532"/>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1" y="3167817"/>
            <a:ext cx="1693247" cy="442532"/>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6"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1" y="2158888"/>
            <a:ext cx="1693247" cy="895855"/>
          </a:xfrm>
          <a:prstGeom prst="rect">
            <a:avLst/>
          </a:prstGeom>
        </p:spPr>
        <p:txBody>
          <a:bodyPr>
            <a:noAutofit/>
          </a:bodyPr>
          <a:lstStyle>
            <a:lvl1pPr marL="0" indent="0">
              <a:buNone/>
              <a:defRPr sz="1960">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8"/>
            <a:ext cx="256787" cy="258381"/>
          </a:xfrm>
          <a:prstGeom prst="rect">
            <a:avLst/>
          </a:prstGeom>
        </p:spPr>
        <p:txBody>
          <a:bodyPr tIns="0" bIns="0"/>
          <a:lstStyle>
            <a:lvl1pPr marL="0" algn="l" defTabSz="913828" rtl="0" eaLnBrk="1" fontAlgn="base" latinLnBrk="0" hangingPunct="1">
              <a:lnSpc>
                <a:spcPts val="2352"/>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828" rtl="0" eaLnBrk="1" fontAlgn="base" latinLnBrk="0" hangingPunct="1">
              <a:lnSpc>
                <a:spcPts val="2352"/>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828" rtl="0" eaLnBrk="1" fontAlgn="base" latinLnBrk="0" hangingPunct="1">
              <a:lnSpc>
                <a:spcPts val="2352"/>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70"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3"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4"/>
            <a:ext cx="1693248"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8"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7"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681864226"/>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3853363531"/>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5" y="941694"/>
            <a:ext cx="7454643" cy="3558191"/>
          </a:xfrm>
          <a:prstGeom prst="rect">
            <a:avLst/>
          </a:prstGeom>
          <a:noFill/>
        </p:spPr>
        <p:txBody>
          <a:bodyPr vert="horz" wrap="square" lIns="0" tIns="0" rIns="0" bIns="0" rtlCol="0" anchor="t" anchorCtr="0">
            <a:noAutofit/>
          </a:bodyPr>
          <a:lstStyle>
            <a:lvl1pPr>
              <a:defRPr lang="en-US" sz="4704" spc="-49" baseline="0" dirty="0">
                <a:solidFill>
                  <a:srgbClr val="000000"/>
                </a:solidFill>
              </a:defRPr>
            </a:lvl1pPr>
          </a:lstStyle>
          <a:p>
            <a:pPr marL="0" lvl="0">
              <a:lnSpc>
                <a:spcPts val="5488"/>
              </a:lnSpc>
            </a:pPr>
            <a:r>
              <a:rPr lang="en-US"/>
              <a:t>Section title</a:t>
            </a:r>
          </a:p>
        </p:txBody>
      </p:sp>
    </p:spTree>
    <p:extLst>
      <p:ext uri="{BB962C8B-B14F-4D97-AF65-F5344CB8AC3E}">
        <p14:creationId xmlns:p14="http://schemas.microsoft.com/office/powerpoint/2010/main" val="3719040252"/>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941694"/>
            <a:ext cx="7454643" cy="3558191"/>
          </a:xfrm>
          <a:prstGeom prst="rect">
            <a:avLst/>
          </a:prstGeom>
          <a:noFill/>
        </p:spPr>
        <p:txBody>
          <a:bodyPr vert="horz" wrap="square" lIns="0" tIns="0" rIns="0" bIns="0" rtlCol="0" anchor="t" anchorCtr="0">
            <a:noAutofit/>
          </a:bodyPr>
          <a:lstStyle>
            <a:lvl1pPr>
              <a:defRPr lang="en-US" sz="4704" spc="-49" baseline="0" dirty="0">
                <a:solidFill>
                  <a:srgbClr val="FFFFFF"/>
                </a:solidFill>
              </a:defRPr>
            </a:lvl1pPr>
          </a:lstStyle>
          <a:p>
            <a:pPr marL="0" lvl="0">
              <a:lnSpc>
                <a:spcPts val="5488"/>
              </a:lnSpc>
            </a:pPr>
            <a:r>
              <a:rPr lang="en-US"/>
              <a:t>Section title</a:t>
            </a:r>
          </a:p>
        </p:txBody>
      </p:sp>
    </p:spTree>
    <p:extLst>
      <p:ext uri="{BB962C8B-B14F-4D97-AF65-F5344CB8AC3E}">
        <p14:creationId xmlns:p14="http://schemas.microsoft.com/office/powerpoint/2010/main" val="1690122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4"/>
            <a:ext cx="7454643" cy="3558191"/>
          </a:xfrm>
          <a:prstGeom prst="rect">
            <a:avLst/>
          </a:prstGeo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8"/>
              </a:lnSpc>
            </a:pPr>
            <a:r>
              <a:rPr lang="en-US"/>
              <a:t>Section title</a:t>
            </a:r>
          </a:p>
        </p:txBody>
      </p:sp>
    </p:spTree>
    <p:extLst>
      <p:ext uri="{BB962C8B-B14F-4D97-AF65-F5344CB8AC3E}">
        <p14:creationId xmlns:p14="http://schemas.microsoft.com/office/powerpoint/2010/main" val="24843131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6" y="620430"/>
            <a:ext cx="5541959" cy="403137"/>
          </a:xfrm>
          <a:prstGeom prst="rect">
            <a:avLst/>
          </a:prstGeom>
        </p:spPr>
        <p:txBody>
          <a:bodyPr wrap="square" lIns="0" tIns="0" rIns="0" bIns="0">
            <a:spAutoFit/>
          </a:bodyPr>
          <a:lstStyle>
            <a:lvl1pPr>
              <a:lnSpc>
                <a:spcPts val="3136"/>
              </a:lnSpc>
              <a:defRPr sz="2744"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4"/>
              </a:lnSpc>
              <a:spcBef>
                <a:spcPts val="1200"/>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7"/>
            <a:ext cx="4822951" cy="287771"/>
          </a:xfrm>
          <a:prstGeom prst="rect">
            <a:avLst/>
          </a:prstGeom>
        </p:spPr>
        <p:txBody>
          <a:bodyPr wrap="square" lIns="0" tIns="0" rIns="0" bIns="0">
            <a:spAutoFit/>
          </a:bodyPr>
          <a:lstStyle>
            <a:lvl1pPr marL="0" indent="0">
              <a:lnSpc>
                <a:spcPts val="2352"/>
              </a:lnSpc>
              <a:buNone/>
              <a:defRPr lang="en-US" sz="1960" kern="1200" spc="0" baseline="0" dirty="0">
                <a:solidFill>
                  <a:srgbClr val="000000"/>
                </a:solidFill>
                <a:latin typeface="+mn-lt"/>
                <a:ea typeface="+mn-ea"/>
                <a:cs typeface="+mn-cs"/>
              </a:defRPr>
            </a:lvl1pPr>
            <a:lvl2pPr marL="224030" indent="0">
              <a:buNone/>
              <a:defRPr/>
            </a:lvl2pPr>
            <a:lvl3pPr marL="448059" indent="0">
              <a:buNone/>
              <a:defRPr/>
            </a:lvl3pPr>
            <a:lvl4pPr marL="672088" indent="0">
              <a:buNone/>
              <a:defRPr/>
            </a:lvl4pPr>
            <a:lvl5pPr marL="896117"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7"/>
            <a:ext cx="5973053" cy="543185"/>
          </a:xfrm>
          <a:prstGeom prst="rect">
            <a:avLst/>
          </a:prstGeom>
        </p:spPr>
        <p:txBody>
          <a:bodyPr/>
          <a:lstStyle>
            <a:lvl1pPr algn="ctr">
              <a:defRPr>
                <a:solidFill>
                  <a:schemeClr val="bg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5"/>
            <a:ext cx="4822951" cy="674672"/>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4"/>
              </a:lnSpc>
              <a:spcBef>
                <a:spcPts val="1200"/>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8453572"/>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marR="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1" y="2152785"/>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8" y="2152785"/>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5" y="3193696"/>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4"/>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4"/>
            <a:ext cx="3612156" cy="543185"/>
          </a:xfrm>
          <a:prstGeom prst="rect">
            <a:avLst/>
          </a:prstGeom>
        </p:spPr>
        <p:txBody>
          <a:bodyPr/>
          <a:lstStyle>
            <a:lvl1pPr algn="ctr">
              <a:defRPr>
                <a:solidFill>
                  <a:schemeClr val="bg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0" y="5158174"/>
            <a:ext cx="3618381" cy="905504"/>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6" y="5158174"/>
            <a:ext cx="3616245" cy="905504"/>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9" y="5158174"/>
            <a:ext cx="3618381" cy="905504"/>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142855576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684488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2"/>
            <a:ext cx="7747227" cy="6439851"/>
          </a:xfrm>
          <a:prstGeom prst="rect">
            <a:avLst/>
          </a:prstGeom>
        </p:spPr>
      </p:pic>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2"/>
            <a:ext cx="4758211" cy="603538"/>
          </a:xfrm>
          <a:prstGeom prst="rect">
            <a:avLst/>
          </a:prstGeom>
        </p:spPr>
        <p:txBody>
          <a:bodyPr wrap="square" lIns="0" tIns="0" rIns="0" bIns="0">
            <a:spAutoFit/>
          </a:bodyPr>
          <a:lstStyle>
            <a:lvl1pPr marL="0" indent="0">
              <a:lnSpc>
                <a:spcPts val="2352"/>
              </a:lnSpc>
              <a:buNone/>
              <a:defRPr sz="1960" b="0" i="0">
                <a:solidFill>
                  <a:srgbClr val="000000"/>
                </a:solidFill>
                <a:latin typeface="+mn-lt"/>
              </a:defRPr>
            </a:lvl1pPr>
            <a:lvl2pPr marL="224030" indent="0">
              <a:buNone/>
              <a:defRPr/>
            </a:lvl2pPr>
            <a:lvl3pPr marL="448059" indent="0">
              <a:buNone/>
              <a:defRPr/>
            </a:lvl3pPr>
            <a:lvl4pPr marL="672088" indent="0">
              <a:buNone/>
              <a:defRPr/>
            </a:lvl4pPr>
            <a:lvl5pPr marL="89611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037" indent="-280037">
              <a:lnSpc>
                <a:spcPts val="1764"/>
              </a:lnSpc>
              <a:spcBef>
                <a:spcPts val="0"/>
              </a:spcBef>
              <a:buFont typeface="Arial" panose="020B0604020202020204" pitchFamily="34" charset="0"/>
              <a:buChar char="•"/>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735122115"/>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4"/>
              </a:lnSpc>
              <a:spcBef>
                <a:spcPts val="882"/>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4"/>
              </a:lnSpc>
              <a:spcBef>
                <a:spcPts val="882"/>
              </a:spcBef>
              <a:buNone/>
              <a:defRPr lang="en-US" sz="1372" b="0" kern="1200" spc="0" baseline="0" dirty="0">
                <a:solidFill>
                  <a:schemeClr val="tx2"/>
                </a:solidFill>
                <a:latin typeface="+mj-lt"/>
                <a:ea typeface="+mn-ea"/>
                <a:cs typeface="+mn-cs"/>
              </a:defRPr>
            </a:lvl1pPr>
            <a:lvl2pPr marL="0" marR="0" indent="0" algn="l" defTabSz="914093"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rgbClr val="000000"/>
                </a:solidFill>
              </a:defRPr>
            </a:lvl2pPr>
            <a:lvl3pPr marL="448059" indent="0">
              <a:buNone/>
              <a:defRPr/>
            </a:lvl3pPr>
            <a:lvl4pPr marL="672088" indent="0">
              <a:buNone/>
              <a:defRPr/>
            </a:lvl4pPr>
            <a:lvl5pPr marL="896117" indent="0">
              <a:buNone/>
              <a:defRPr/>
            </a:lvl5pPr>
          </a:lstStyle>
          <a:p>
            <a:pPr marL="0" marR="0" lvl="0" indent="0" algn="l" defTabSz="914093"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60"/>
            <a:ext cx="1693247"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60"/>
            <a:ext cx="1693247" cy="2290499"/>
          </a:xfrm>
          <a:prstGeom prst="rect">
            <a:avLst/>
          </a:prstGeom>
        </p:spPr>
        <p:txBody>
          <a:bodyPr lIns="0" tIns="0" rIns="0" bIns="0"/>
          <a:lstStyle>
            <a:lvl1pPr marL="0" indent="0">
              <a:lnSpc>
                <a:spcPts val="1764"/>
              </a:lnSpc>
              <a:spcBef>
                <a:spcPts val="0"/>
              </a:spcBef>
              <a:buFont typeface="Arial" panose="020B0604020202020204" pitchFamily="34" charset="0"/>
              <a:buNone/>
              <a:defRPr sz="1372" b="0" i="0" spc="0">
                <a:solidFill>
                  <a:srgbClr val="000000"/>
                </a:solidFill>
                <a:latin typeface="+mn-lt"/>
              </a:defRPr>
            </a:lvl1pPr>
            <a:lvl2pPr marL="0" indent="0">
              <a:lnSpc>
                <a:spcPts val="1764"/>
              </a:lnSpc>
              <a:spcBef>
                <a:spcPts val="0"/>
              </a:spcBef>
              <a:buNone/>
              <a:defRPr sz="1372">
                <a:solidFill>
                  <a:schemeClr val="tx1"/>
                </a:solidFill>
              </a:defRPr>
            </a:lvl2pPr>
            <a:lvl3pPr marL="448059" indent="0">
              <a:buNone/>
              <a:defRPr/>
            </a:lvl3pPr>
            <a:lvl4pPr marL="672088" indent="0">
              <a:buNone/>
              <a:defRPr/>
            </a:lvl4pPr>
            <a:lvl5pPr marL="89611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114781345"/>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9"/>
            <a:ext cx="10869930" cy="6371053"/>
          </a:xfrm>
          <a:prstGeom prst="rect">
            <a:avLst/>
          </a:prstGeom>
        </p:spPr>
      </p:pic>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7" y="3490039"/>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2971316028"/>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2"/>
            <a:ext cx="3618377" cy="3534843"/>
          </a:xfrm>
          <a:prstGeom prst="rect">
            <a:avLst/>
          </a:prstGeom>
        </p:spPr>
        <p:txBody>
          <a:bodyPr anchor="ctr">
            <a:noAutofit/>
          </a:bodyPr>
          <a:lstStyle>
            <a:lvl1pPr marL="0" indent="0" algn="ctr">
              <a:buNone/>
              <a:defRPr sz="2352">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093"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059" indent="0">
              <a:buNone/>
              <a:defRPr/>
            </a:lvl3pPr>
            <a:lvl4pPr marL="672088" indent="0">
              <a:buNone/>
              <a:defRPr/>
            </a:lvl4pPr>
            <a:lvl5pPr marL="89611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2"/>
            <a:ext cx="3607487" cy="3534843"/>
          </a:xfrm>
          <a:prstGeom prst="rect">
            <a:avLst/>
          </a:prstGeom>
        </p:spPr>
        <p:txBody>
          <a:bodyPr anchor="ctr">
            <a:noAutofit/>
          </a:bodyPr>
          <a:lstStyle>
            <a:lvl1pPr marL="0" indent="0" algn="ctr">
              <a:buNone/>
              <a:defRPr sz="2352">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2"/>
            <a:ext cx="3623051" cy="3534843"/>
          </a:xfrm>
          <a:prstGeom prst="rect">
            <a:avLst/>
          </a:prstGeom>
        </p:spPr>
        <p:txBody>
          <a:bodyPr anchor="ctr">
            <a:noAutofit/>
          </a:bodyPr>
          <a:lstStyle>
            <a:lvl1pPr marL="0" indent="0" algn="ctr">
              <a:buNone/>
              <a:defRPr sz="2352">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70459906"/>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a:prstGeom prst="rect">
            <a:avLst/>
          </a:prstGeom>
        </p:spPr>
        <p:txBody>
          <a:bodyPr wrap="square" lIns="0" tIns="0" rIns="0" bIns="0">
            <a:spAutoFit/>
          </a:bodyPr>
          <a:lstStyle>
            <a:lvl1pPr>
              <a:lnSpc>
                <a:spcPts val="3136"/>
              </a:lnSpc>
              <a:defRPr sz="2744">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4"/>
            <a:ext cx="11306469" cy="54675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70" y="6455177"/>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841080930"/>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8"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1" y="6451199"/>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9855487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8"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1" y="6451199"/>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38803985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userDrawn="1">
  <p:cSld name="List">
    <p:bg>
      <p:bgPr>
        <a:solidFill>
          <a:srgbClr val="F2F2F2"/>
        </a:solidFill>
        <a:effectLst/>
      </p:bgPr>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6F2575E7-1E87-A84E-9DE8-B1F34242D8AC}"/>
              </a:ext>
            </a:extLst>
          </p:cNvPr>
          <p:cNvPicPr>
            <a:picLocks noChangeAspect="1"/>
          </p:cNvPicPr>
          <p:nvPr userDrawn="1"/>
        </p:nvPicPr>
        <p:blipFill>
          <a:blip r:embed="rId2"/>
          <a:stretch>
            <a:fillRect/>
          </a:stretch>
        </p:blipFill>
        <p:spPr>
          <a:xfrm>
            <a:off x="1" y="0"/>
            <a:ext cx="12192000" cy="6858000"/>
          </a:xfrm>
          <a:prstGeom prst="rect">
            <a:avLst/>
          </a:prstGeom>
        </p:spPr>
      </p:pic>
      <p:grpSp>
        <p:nvGrpSpPr>
          <p:cNvPr id="7" name="Group 6">
            <a:extLst>
              <a:ext uri="{FF2B5EF4-FFF2-40B4-BE49-F238E27FC236}">
                <a16:creationId xmlns:a16="http://schemas.microsoft.com/office/drawing/2014/main" id="{2BB5A512-F14A-7843-85A2-3FE24B7798E9}"/>
              </a:ext>
            </a:extLst>
          </p:cNvPr>
          <p:cNvGrpSpPr/>
          <p:nvPr userDrawn="1"/>
        </p:nvGrpSpPr>
        <p:grpSpPr>
          <a:xfrm rot="5400000">
            <a:off x="10132675" y="2374765"/>
            <a:ext cx="6739325" cy="2227147"/>
            <a:chOff x="8223066" y="6182286"/>
            <a:chExt cx="12807252" cy="4231311"/>
          </a:xfrm>
        </p:grpSpPr>
        <p:pic>
          <p:nvPicPr>
            <p:cNvPr id="8" name="Image" descr="Image">
              <a:extLst>
                <a:ext uri="{FF2B5EF4-FFF2-40B4-BE49-F238E27FC236}">
                  <a16:creationId xmlns:a16="http://schemas.microsoft.com/office/drawing/2014/main" id="{A5FD33B4-808A-604D-A4CA-73750F66CDAC}"/>
                </a:ext>
              </a:extLst>
            </p:cNvPr>
            <p:cNvPicPr>
              <a:picLocks noChangeAspect="1"/>
            </p:cNvPicPr>
            <p:nvPr userDrawn="1"/>
          </p:nvPicPr>
          <p:blipFill>
            <a:blip r:embed="rId3"/>
            <a:srcRect b="20208"/>
            <a:stretch>
              <a:fillRect/>
            </a:stretch>
          </p:blipFill>
          <p:spPr>
            <a:xfrm>
              <a:off x="9825738" y="6285642"/>
              <a:ext cx="11204580" cy="2819606"/>
            </a:xfrm>
            <a:prstGeom prst="rect">
              <a:avLst/>
            </a:prstGeom>
            <a:ln w="12700">
              <a:miter lim="400000"/>
            </a:ln>
          </p:spPr>
        </p:pic>
        <p:sp>
          <p:nvSpPr>
            <p:cNvPr id="11" name="R134 G97 B197…">
              <a:extLst>
                <a:ext uri="{FF2B5EF4-FFF2-40B4-BE49-F238E27FC236}">
                  <a16:creationId xmlns:a16="http://schemas.microsoft.com/office/drawing/2014/main" id="{6FA3897D-CD5C-E543-8B96-BA9178CB738A}"/>
                </a:ext>
              </a:extLst>
            </p:cNvPr>
            <p:cNvSpPr txBox="1"/>
            <p:nvPr userDrawn="1"/>
          </p:nvSpPr>
          <p:spPr>
            <a:xfrm>
              <a:off x="1002816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34 G97 B197</a:t>
              </a:r>
            </a:p>
          </p:txBody>
        </p:sp>
        <p:sp>
          <p:nvSpPr>
            <p:cNvPr id="12" name="R59 G46 B88…">
              <a:extLst>
                <a:ext uri="{FF2B5EF4-FFF2-40B4-BE49-F238E27FC236}">
                  <a16:creationId xmlns:a16="http://schemas.microsoft.com/office/drawing/2014/main" id="{EFEA0A55-3E1F-AB4B-88C5-9FB40BA7AEED}"/>
                </a:ext>
              </a:extLst>
            </p:cNvPr>
            <p:cNvSpPr txBox="1"/>
            <p:nvPr userDrawn="1"/>
          </p:nvSpPr>
          <p:spPr>
            <a:xfrm>
              <a:off x="11822346"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9 G46 B88</a:t>
              </a:r>
            </a:p>
          </p:txBody>
        </p:sp>
        <p:sp>
          <p:nvSpPr>
            <p:cNvPr id="13" name="R213 G157 B255…">
              <a:extLst>
                <a:ext uri="{FF2B5EF4-FFF2-40B4-BE49-F238E27FC236}">
                  <a16:creationId xmlns:a16="http://schemas.microsoft.com/office/drawing/2014/main" id="{9657301E-9F29-7243-8412-16F65FF53C76}"/>
                </a:ext>
              </a:extLst>
            </p:cNvPr>
            <p:cNvSpPr txBox="1"/>
            <p:nvPr userDrawn="1"/>
          </p:nvSpPr>
          <p:spPr>
            <a:xfrm>
              <a:off x="10028161"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B2E58"/>
                  </a:solidFill>
                </a:defRPr>
              </a:pPr>
              <a:r>
                <a:rPr sz="500"/>
                <a:t>R213 G157 B255</a:t>
              </a:r>
            </a:p>
          </p:txBody>
        </p:sp>
        <p:sp>
          <p:nvSpPr>
            <p:cNvPr id="14" name="R161 G133 B210…">
              <a:extLst>
                <a:ext uri="{FF2B5EF4-FFF2-40B4-BE49-F238E27FC236}">
                  <a16:creationId xmlns:a16="http://schemas.microsoft.com/office/drawing/2014/main" id="{1CDD722D-B503-7E46-B944-8FAA59AC1C10}"/>
                </a:ext>
              </a:extLst>
            </p:cNvPr>
            <p:cNvSpPr txBox="1"/>
            <p:nvPr userDrawn="1"/>
          </p:nvSpPr>
          <p:spPr>
            <a:xfrm>
              <a:off x="11822346"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1 G133 B210</a:t>
              </a:r>
            </a:p>
          </p:txBody>
        </p:sp>
        <p:sp>
          <p:nvSpPr>
            <p:cNvPr id="15" name="R0 G120 B212…">
              <a:extLst>
                <a:ext uri="{FF2B5EF4-FFF2-40B4-BE49-F238E27FC236}">
                  <a16:creationId xmlns:a16="http://schemas.microsoft.com/office/drawing/2014/main" id="{E845703D-8481-CD4B-97F4-3A532BE91BC4}"/>
                </a:ext>
              </a:extLst>
            </p:cNvPr>
            <p:cNvSpPr txBox="1"/>
            <p:nvPr userDrawn="1"/>
          </p:nvSpPr>
          <p:spPr>
            <a:xfrm>
              <a:off x="138827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20 B212 </a:t>
              </a:r>
            </a:p>
          </p:txBody>
        </p:sp>
        <p:sp>
          <p:nvSpPr>
            <p:cNvPr id="16" name="R36 G58 B94…">
              <a:extLst>
                <a:ext uri="{FF2B5EF4-FFF2-40B4-BE49-F238E27FC236}">
                  <a16:creationId xmlns:a16="http://schemas.microsoft.com/office/drawing/2014/main" id="{6341AF91-7239-7345-8EA7-EE6E80C49BDC}"/>
                </a:ext>
              </a:extLst>
            </p:cNvPr>
            <p:cNvSpPr txBox="1"/>
            <p:nvPr userDrawn="1"/>
          </p:nvSpPr>
          <p:spPr>
            <a:xfrm>
              <a:off x="156769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6 G58 B94</a:t>
              </a:r>
              <a:endParaRPr sz="900">
                <a:solidFill>
                  <a:srgbClr val="000000"/>
                </a:solidFill>
                <a:latin typeface="Times"/>
                <a:ea typeface="Times"/>
                <a:cs typeface="Times"/>
                <a:sym typeface="Times"/>
              </a:endParaRPr>
            </a:p>
          </p:txBody>
        </p:sp>
        <p:sp>
          <p:nvSpPr>
            <p:cNvPr id="17" name="R80 G230 B255…">
              <a:extLst>
                <a:ext uri="{FF2B5EF4-FFF2-40B4-BE49-F238E27FC236}">
                  <a16:creationId xmlns:a16="http://schemas.microsoft.com/office/drawing/2014/main" id="{64AD9798-8A4A-5C41-ACCB-536CF149BF4B}"/>
                </a:ext>
              </a:extLst>
            </p:cNvPr>
            <p:cNvSpPr txBox="1"/>
            <p:nvPr userDrawn="1"/>
          </p:nvSpPr>
          <p:spPr>
            <a:xfrm>
              <a:off x="138827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243A5E"/>
                  </a:solidFill>
                </a:defRPr>
              </a:pPr>
              <a:r>
                <a:rPr sz="500"/>
                <a:t>R80 G230 B255</a:t>
              </a:r>
              <a:endParaRPr sz="900">
                <a:latin typeface="Times"/>
                <a:ea typeface="Times"/>
                <a:cs typeface="Times"/>
                <a:sym typeface="Times"/>
              </a:endParaRPr>
            </a:p>
          </p:txBody>
        </p:sp>
        <p:sp>
          <p:nvSpPr>
            <p:cNvPr id="18" name="R40 G167 B233…">
              <a:extLst>
                <a:ext uri="{FF2B5EF4-FFF2-40B4-BE49-F238E27FC236}">
                  <a16:creationId xmlns:a16="http://schemas.microsoft.com/office/drawing/2014/main" id="{76876642-DA33-6547-B318-A06590ED5933}"/>
                </a:ext>
              </a:extLst>
            </p:cNvPr>
            <p:cNvSpPr txBox="1"/>
            <p:nvPr userDrawn="1"/>
          </p:nvSpPr>
          <p:spPr>
            <a:xfrm>
              <a:off x="15676945"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67 B233</a:t>
              </a:r>
            </a:p>
          </p:txBody>
        </p:sp>
        <p:sp>
          <p:nvSpPr>
            <p:cNvPr id="20" name="R0 G133 B117   Hex #008575   C100 M15 Y60 K0   PMS 3285 C">
              <a:extLst>
                <a:ext uri="{FF2B5EF4-FFF2-40B4-BE49-F238E27FC236}">
                  <a16:creationId xmlns:a16="http://schemas.microsoft.com/office/drawing/2014/main" id="{FE215B22-AC11-3C46-AF46-E2769E619C3E}"/>
                </a:ext>
              </a:extLst>
            </p:cNvPr>
            <p:cNvSpPr txBox="1"/>
            <p:nvPr userDrawn="1"/>
          </p:nvSpPr>
          <p:spPr>
            <a:xfrm>
              <a:off x="17737362"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133 B117 </a:t>
              </a:r>
            </a:p>
          </p:txBody>
        </p:sp>
        <p:sp>
          <p:nvSpPr>
            <p:cNvPr id="21" name="R39 G75 B71   Hex #274b47…">
              <a:extLst>
                <a:ext uri="{FF2B5EF4-FFF2-40B4-BE49-F238E27FC236}">
                  <a16:creationId xmlns:a16="http://schemas.microsoft.com/office/drawing/2014/main" id="{14B29230-0E2F-F64D-9D87-14DE08BF014D}"/>
                </a:ext>
              </a:extLst>
            </p:cNvPr>
            <p:cNvSpPr txBox="1"/>
            <p:nvPr userDrawn="1"/>
          </p:nvSpPr>
          <p:spPr>
            <a:xfrm>
              <a:off x="19531545" y="6555303"/>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39 G75 B71 </a:t>
              </a:r>
            </a:p>
          </p:txBody>
        </p:sp>
        <p:sp>
          <p:nvSpPr>
            <p:cNvPr id="22" name="R48 G229 B208…">
              <a:extLst>
                <a:ext uri="{FF2B5EF4-FFF2-40B4-BE49-F238E27FC236}">
                  <a16:creationId xmlns:a16="http://schemas.microsoft.com/office/drawing/2014/main" id="{7A2A44BF-C542-414B-90CE-1ED33247DD1F}"/>
                </a:ext>
              </a:extLst>
            </p:cNvPr>
            <p:cNvSpPr txBox="1"/>
            <p:nvPr userDrawn="1"/>
          </p:nvSpPr>
          <p:spPr>
            <a:xfrm>
              <a:off x="17737362" y="723297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304A47"/>
                  </a:solidFill>
                </a:defRPr>
              </a:pPr>
              <a:r>
                <a:rPr sz="500"/>
                <a:t>R48 G229 B208</a:t>
              </a:r>
              <a:endParaRPr sz="900">
                <a:latin typeface="Times"/>
                <a:ea typeface="Times"/>
                <a:cs typeface="Times"/>
                <a:sym typeface="Times"/>
              </a:endParaRPr>
            </a:p>
          </p:txBody>
        </p:sp>
        <p:sp>
          <p:nvSpPr>
            <p:cNvPr id="23" name="R40 G194 B209…">
              <a:extLst>
                <a:ext uri="{FF2B5EF4-FFF2-40B4-BE49-F238E27FC236}">
                  <a16:creationId xmlns:a16="http://schemas.microsoft.com/office/drawing/2014/main" id="{12563271-9B47-4F4E-B134-449D61E1F1FC}"/>
                </a:ext>
              </a:extLst>
            </p:cNvPr>
            <p:cNvSpPr txBox="1"/>
            <p:nvPr userDrawn="1"/>
          </p:nvSpPr>
          <p:spPr>
            <a:xfrm>
              <a:off x="19531545" y="7159864"/>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0 G194 B209</a:t>
              </a:r>
            </a:p>
            <a:p>
              <a:pPr defTabSz="457200">
                <a:lnSpc>
                  <a:spcPct val="100000"/>
                </a:lnSpc>
                <a:defRPr sz="900" spc="0"/>
              </a:pPr>
              <a:endParaRPr sz="500"/>
            </a:p>
          </p:txBody>
        </p:sp>
        <p:sp>
          <p:nvSpPr>
            <p:cNvPr id="24" name="R16 G124 B16  Hex #107c10  C75 M0 Y100 K0   PMS 362 C">
              <a:extLst>
                <a:ext uri="{FF2B5EF4-FFF2-40B4-BE49-F238E27FC236}">
                  <a16:creationId xmlns:a16="http://schemas.microsoft.com/office/drawing/2014/main" id="{67ACF396-EDE4-7242-A514-4BD6136AFBE8}"/>
                </a:ext>
              </a:extLst>
            </p:cNvPr>
            <p:cNvSpPr txBox="1"/>
            <p:nvPr userDrawn="1"/>
          </p:nvSpPr>
          <p:spPr>
            <a:xfrm>
              <a:off x="1002816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6 G124 B16 </a:t>
              </a:r>
            </a:p>
          </p:txBody>
        </p:sp>
        <p:sp>
          <p:nvSpPr>
            <p:cNvPr id="25" name="R5 G75 B22   Hex #054b16…">
              <a:extLst>
                <a:ext uri="{FF2B5EF4-FFF2-40B4-BE49-F238E27FC236}">
                  <a16:creationId xmlns:a16="http://schemas.microsoft.com/office/drawing/2014/main" id="{13839C61-1590-F144-B1BC-57F52103A102}"/>
                </a:ext>
              </a:extLst>
            </p:cNvPr>
            <p:cNvSpPr txBox="1"/>
            <p:nvPr userDrawn="1"/>
          </p:nvSpPr>
          <p:spPr>
            <a:xfrm>
              <a:off x="11822348" y="8063328"/>
              <a:ext cx="1296343" cy="4874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5 G75 B22  </a:t>
              </a:r>
              <a:br>
                <a:rPr sz="500"/>
              </a:br>
              <a:endParaRPr sz="500"/>
            </a:p>
          </p:txBody>
        </p:sp>
        <p:sp>
          <p:nvSpPr>
            <p:cNvPr id="26" name="R155 G240 B11…">
              <a:extLst>
                <a:ext uri="{FF2B5EF4-FFF2-40B4-BE49-F238E27FC236}">
                  <a16:creationId xmlns:a16="http://schemas.microsoft.com/office/drawing/2014/main" id="{34E32D58-CDE3-DA44-A59F-39E144E3CB0F}"/>
                </a:ext>
              </a:extLst>
            </p:cNvPr>
            <p:cNvSpPr txBox="1"/>
            <p:nvPr userDrawn="1"/>
          </p:nvSpPr>
          <p:spPr>
            <a:xfrm>
              <a:off x="1002816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1F491D"/>
                  </a:solidFill>
                </a:defRPr>
              </a:pPr>
              <a:r>
                <a:rPr sz="500"/>
                <a:t>R155 G240 B11</a:t>
              </a:r>
              <a:endParaRPr sz="900">
                <a:latin typeface="Times"/>
                <a:ea typeface="Times"/>
                <a:cs typeface="Times"/>
                <a:sym typeface="Times"/>
              </a:endParaRPr>
            </a:p>
          </p:txBody>
        </p:sp>
        <p:sp>
          <p:nvSpPr>
            <p:cNvPr id="27" name="R127 G186 B0…">
              <a:extLst>
                <a:ext uri="{FF2B5EF4-FFF2-40B4-BE49-F238E27FC236}">
                  <a16:creationId xmlns:a16="http://schemas.microsoft.com/office/drawing/2014/main" id="{7FE53095-05C9-C247-A6D0-44300D57851A}"/>
                </a:ext>
              </a:extLst>
            </p:cNvPr>
            <p:cNvSpPr txBox="1"/>
            <p:nvPr userDrawn="1"/>
          </p:nvSpPr>
          <p:spPr>
            <a:xfrm>
              <a:off x="11822346"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27 G186 B0</a:t>
              </a:r>
            </a:p>
          </p:txBody>
        </p:sp>
        <p:sp>
          <p:nvSpPr>
            <p:cNvPr id="28" name="R216 G59 B1…">
              <a:extLst>
                <a:ext uri="{FF2B5EF4-FFF2-40B4-BE49-F238E27FC236}">
                  <a16:creationId xmlns:a16="http://schemas.microsoft.com/office/drawing/2014/main" id="{C717E470-1863-8941-9B21-AD5FCCD3E40D}"/>
                </a:ext>
              </a:extLst>
            </p:cNvPr>
            <p:cNvSpPr txBox="1"/>
            <p:nvPr userDrawn="1"/>
          </p:nvSpPr>
          <p:spPr>
            <a:xfrm>
              <a:off x="13882762"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16 G59 B1</a:t>
              </a:r>
              <a:endParaRPr sz="500">
                <a:solidFill>
                  <a:srgbClr val="000000"/>
                </a:solidFill>
              </a:endParaRPr>
            </a:p>
          </p:txBody>
        </p:sp>
        <p:sp>
          <p:nvSpPr>
            <p:cNvPr id="29" name="R107 G41 B41…">
              <a:extLst>
                <a:ext uri="{FF2B5EF4-FFF2-40B4-BE49-F238E27FC236}">
                  <a16:creationId xmlns:a16="http://schemas.microsoft.com/office/drawing/2014/main" id="{935E2D5E-724E-C849-A2D2-C69D8E010842}"/>
                </a:ext>
              </a:extLst>
            </p:cNvPr>
            <p:cNvSpPr txBox="1"/>
            <p:nvPr userDrawn="1"/>
          </p:nvSpPr>
          <p:spPr>
            <a:xfrm>
              <a:off x="15676943"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7 G41 B41 </a:t>
              </a:r>
            </a:p>
          </p:txBody>
        </p:sp>
        <p:sp>
          <p:nvSpPr>
            <p:cNvPr id="30" name="R255 G147 B73…">
              <a:extLst>
                <a:ext uri="{FF2B5EF4-FFF2-40B4-BE49-F238E27FC236}">
                  <a16:creationId xmlns:a16="http://schemas.microsoft.com/office/drawing/2014/main" id="{B34F765F-41D9-2D43-BF2E-32D6FEE5E704}"/>
                </a:ext>
              </a:extLst>
            </p:cNvPr>
            <p:cNvSpPr txBox="1"/>
            <p:nvPr userDrawn="1"/>
          </p:nvSpPr>
          <p:spPr>
            <a:xfrm>
              <a:off x="138827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32D2B"/>
                  </a:solidFill>
                </a:defRPr>
              </a:pPr>
              <a:r>
                <a:rPr sz="500"/>
                <a:t>R255 G147 B73</a:t>
              </a:r>
            </a:p>
          </p:txBody>
        </p:sp>
        <p:sp>
          <p:nvSpPr>
            <p:cNvPr id="31" name="R241 G101 B34…">
              <a:extLst>
                <a:ext uri="{FF2B5EF4-FFF2-40B4-BE49-F238E27FC236}">
                  <a16:creationId xmlns:a16="http://schemas.microsoft.com/office/drawing/2014/main" id="{29CB1822-8302-CD4B-9264-93606C293898}"/>
                </a:ext>
              </a:extLst>
            </p:cNvPr>
            <p:cNvSpPr txBox="1"/>
            <p:nvPr userDrawn="1"/>
          </p:nvSpPr>
          <p:spPr>
            <a:xfrm>
              <a:off x="15676943"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41 G101 B34</a:t>
              </a:r>
            </a:p>
          </p:txBody>
        </p:sp>
        <p:sp>
          <p:nvSpPr>
            <p:cNvPr id="32" name="R255 G185 B0…">
              <a:extLst>
                <a:ext uri="{FF2B5EF4-FFF2-40B4-BE49-F238E27FC236}">
                  <a16:creationId xmlns:a16="http://schemas.microsoft.com/office/drawing/2014/main" id="{F160629A-2BEE-3A43-8F27-9F4A4FA55B23}"/>
                </a:ext>
              </a:extLst>
            </p:cNvPr>
            <p:cNvSpPr txBox="1"/>
            <p:nvPr userDrawn="1"/>
          </p:nvSpPr>
          <p:spPr>
            <a:xfrm>
              <a:off x="17737363" y="8136438"/>
              <a:ext cx="1390722"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5 G185 B0</a:t>
              </a:r>
              <a:endParaRPr sz="900">
                <a:latin typeface="Times"/>
                <a:ea typeface="Times"/>
                <a:cs typeface="Times"/>
                <a:sym typeface="Times"/>
              </a:endParaRPr>
            </a:p>
          </p:txBody>
        </p:sp>
        <p:sp>
          <p:nvSpPr>
            <p:cNvPr id="33" name="R106 G75 B22…">
              <a:extLst>
                <a:ext uri="{FF2B5EF4-FFF2-40B4-BE49-F238E27FC236}">
                  <a16:creationId xmlns:a16="http://schemas.microsoft.com/office/drawing/2014/main" id="{423CA32E-C799-734D-A7DC-77273CBB8186}"/>
                </a:ext>
              </a:extLst>
            </p:cNvPr>
            <p:cNvSpPr txBox="1"/>
            <p:nvPr userDrawn="1"/>
          </p:nvSpPr>
          <p:spPr>
            <a:xfrm>
              <a:off x="19531545" y="813643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06 G75 B22</a:t>
              </a:r>
              <a:endParaRPr sz="900">
                <a:solidFill>
                  <a:srgbClr val="000000"/>
                </a:solidFill>
                <a:latin typeface="Times"/>
                <a:ea typeface="Times"/>
                <a:cs typeface="Times"/>
                <a:sym typeface="Times"/>
              </a:endParaRPr>
            </a:p>
          </p:txBody>
        </p:sp>
        <p:sp>
          <p:nvSpPr>
            <p:cNvPr id="34" name="R254 G240 B0…">
              <a:extLst>
                <a:ext uri="{FF2B5EF4-FFF2-40B4-BE49-F238E27FC236}">
                  <a16:creationId xmlns:a16="http://schemas.microsoft.com/office/drawing/2014/main" id="{583E1587-1B99-B545-9D89-241F824B168B}"/>
                </a:ext>
              </a:extLst>
            </p:cNvPr>
            <p:cNvSpPr txBox="1"/>
            <p:nvPr userDrawn="1"/>
          </p:nvSpPr>
          <p:spPr>
            <a:xfrm>
              <a:off x="17737362"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654B21"/>
                  </a:solidFill>
                </a:defRPr>
              </a:pPr>
              <a:r>
                <a:rPr sz="500"/>
                <a:t>R254 G240 B0</a:t>
              </a:r>
              <a:endParaRPr sz="900">
                <a:latin typeface="Times"/>
                <a:ea typeface="Times"/>
                <a:cs typeface="Times"/>
                <a:sym typeface="Times"/>
              </a:endParaRPr>
            </a:p>
          </p:txBody>
        </p:sp>
        <p:sp>
          <p:nvSpPr>
            <p:cNvPr id="35" name="R254 G212 B0…">
              <a:extLst>
                <a:ext uri="{FF2B5EF4-FFF2-40B4-BE49-F238E27FC236}">
                  <a16:creationId xmlns:a16="http://schemas.microsoft.com/office/drawing/2014/main" id="{55F9DB90-A546-CC40-A8E2-A1843B773CCD}"/>
                </a:ext>
              </a:extLst>
            </p:cNvPr>
            <p:cNvSpPr txBox="1"/>
            <p:nvPr userDrawn="1"/>
          </p:nvSpPr>
          <p:spPr>
            <a:xfrm>
              <a:off x="19531545" y="8698410"/>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254 G212 B0</a:t>
              </a:r>
            </a:p>
          </p:txBody>
        </p:sp>
        <p:pic>
          <p:nvPicPr>
            <p:cNvPr id="36" name="Image" descr="Image">
              <a:extLst>
                <a:ext uri="{FF2B5EF4-FFF2-40B4-BE49-F238E27FC236}">
                  <a16:creationId xmlns:a16="http://schemas.microsoft.com/office/drawing/2014/main" id="{3B96C91B-2EC2-334C-96C2-B98E7D46A363}"/>
                </a:ext>
              </a:extLst>
            </p:cNvPr>
            <p:cNvPicPr>
              <a:picLocks noChangeAspect="1"/>
            </p:cNvPicPr>
            <p:nvPr userDrawn="1"/>
          </p:nvPicPr>
          <p:blipFill>
            <a:blip r:embed="rId4"/>
            <a:stretch>
              <a:fillRect/>
            </a:stretch>
          </p:blipFill>
          <p:spPr>
            <a:xfrm>
              <a:off x="9825738" y="9911907"/>
              <a:ext cx="11204576" cy="501690"/>
            </a:xfrm>
            <a:prstGeom prst="rect">
              <a:avLst/>
            </a:prstGeom>
            <a:ln w="12700">
              <a:miter lim="400000"/>
            </a:ln>
          </p:spPr>
        </p:pic>
        <p:sp>
          <p:nvSpPr>
            <p:cNvPr id="37" name="R242 G242 B242…">
              <a:extLst>
                <a:ext uri="{FF2B5EF4-FFF2-40B4-BE49-F238E27FC236}">
                  <a16:creationId xmlns:a16="http://schemas.microsoft.com/office/drawing/2014/main" id="{83488EE5-49C3-B942-A3D6-3D2848D42D62}"/>
                </a:ext>
              </a:extLst>
            </p:cNvPr>
            <p:cNvSpPr txBox="1"/>
            <p:nvPr userDrawn="1"/>
          </p:nvSpPr>
          <p:spPr>
            <a:xfrm>
              <a:off x="10028161" y="9992155"/>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42 G242 B242</a:t>
              </a:r>
              <a:endParaRPr sz="900" b="1">
                <a:latin typeface="Times"/>
                <a:ea typeface="Times"/>
                <a:cs typeface="Times"/>
                <a:sym typeface="Times"/>
              </a:endParaRPr>
            </a:p>
          </p:txBody>
        </p:sp>
        <p:sp>
          <p:nvSpPr>
            <p:cNvPr id="38" name="R230 G230 B230…">
              <a:extLst>
                <a:ext uri="{FF2B5EF4-FFF2-40B4-BE49-F238E27FC236}">
                  <a16:creationId xmlns:a16="http://schemas.microsoft.com/office/drawing/2014/main" id="{97BD5EA1-AF7C-E44B-8DD9-0E7231208480}"/>
                </a:ext>
              </a:extLst>
            </p:cNvPr>
            <p:cNvSpPr txBox="1"/>
            <p:nvPr userDrawn="1"/>
          </p:nvSpPr>
          <p:spPr>
            <a:xfrm>
              <a:off x="11620264"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30 G230 B230</a:t>
              </a:r>
              <a:endParaRPr sz="900" b="1">
                <a:latin typeface="Times"/>
                <a:ea typeface="Times"/>
                <a:cs typeface="Times"/>
                <a:sym typeface="Times"/>
              </a:endParaRPr>
            </a:p>
          </p:txBody>
        </p:sp>
        <p:sp>
          <p:nvSpPr>
            <p:cNvPr id="39" name="R210 G210 B210…">
              <a:extLst>
                <a:ext uri="{FF2B5EF4-FFF2-40B4-BE49-F238E27FC236}">
                  <a16:creationId xmlns:a16="http://schemas.microsoft.com/office/drawing/2014/main" id="{C51778C9-BAA8-664F-9040-748A0C1DFD5C}"/>
                </a:ext>
              </a:extLst>
            </p:cNvPr>
            <p:cNvSpPr txBox="1"/>
            <p:nvPr userDrawn="1"/>
          </p:nvSpPr>
          <p:spPr>
            <a:xfrm>
              <a:off x="13212361"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solidFill>
                    <a:srgbClr val="505050"/>
                  </a:solidFill>
                </a:defRPr>
              </a:pPr>
              <a:r>
                <a:rPr sz="500"/>
                <a:t>R210 G210 B210</a:t>
              </a:r>
              <a:endParaRPr sz="900" b="1">
                <a:latin typeface="Times"/>
                <a:ea typeface="Times"/>
                <a:cs typeface="Times"/>
                <a:sym typeface="Times"/>
              </a:endParaRPr>
            </a:p>
          </p:txBody>
        </p:sp>
        <p:sp>
          <p:nvSpPr>
            <p:cNvPr id="40" name="R115 G115 B115…">
              <a:extLst>
                <a:ext uri="{FF2B5EF4-FFF2-40B4-BE49-F238E27FC236}">
                  <a16:creationId xmlns:a16="http://schemas.microsoft.com/office/drawing/2014/main" id="{D6C17FFC-1A7B-4845-8EB6-08BCA6391B57}"/>
                </a:ext>
              </a:extLst>
            </p:cNvPr>
            <p:cNvSpPr txBox="1"/>
            <p:nvPr userDrawn="1"/>
          </p:nvSpPr>
          <p:spPr>
            <a:xfrm>
              <a:off x="14804462"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115 G115 B115</a:t>
              </a:r>
            </a:p>
          </p:txBody>
        </p:sp>
        <p:sp>
          <p:nvSpPr>
            <p:cNvPr id="41" name="R80 G80 B80…">
              <a:extLst>
                <a:ext uri="{FF2B5EF4-FFF2-40B4-BE49-F238E27FC236}">
                  <a16:creationId xmlns:a16="http://schemas.microsoft.com/office/drawing/2014/main" id="{4BD4B5B3-5131-8943-97CB-6CCA9A43A57A}"/>
                </a:ext>
              </a:extLst>
            </p:cNvPr>
            <p:cNvSpPr txBox="1"/>
            <p:nvPr userDrawn="1"/>
          </p:nvSpPr>
          <p:spPr>
            <a:xfrm>
              <a:off x="16396563" y="9992159"/>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80 G80 B80 </a:t>
              </a:r>
            </a:p>
          </p:txBody>
        </p:sp>
        <p:sp>
          <p:nvSpPr>
            <p:cNvPr id="42" name="R47 G47 B47…">
              <a:extLst>
                <a:ext uri="{FF2B5EF4-FFF2-40B4-BE49-F238E27FC236}">
                  <a16:creationId xmlns:a16="http://schemas.microsoft.com/office/drawing/2014/main" id="{1D7AC7F4-326A-5440-89DE-0C5E89AC6CA2}"/>
                </a:ext>
              </a:extLst>
            </p:cNvPr>
            <p:cNvSpPr txBox="1"/>
            <p:nvPr userDrawn="1"/>
          </p:nvSpPr>
          <p:spPr>
            <a:xfrm>
              <a:off x="18001362"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47 G47 B47</a:t>
              </a:r>
              <a:endParaRPr sz="900" b="1">
                <a:latin typeface="Times"/>
                <a:ea typeface="Times"/>
                <a:cs typeface="Times"/>
                <a:sym typeface="Times"/>
              </a:endParaRPr>
            </a:p>
          </p:txBody>
        </p:sp>
        <p:sp>
          <p:nvSpPr>
            <p:cNvPr id="43" name="R0 G0 B0…">
              <a:extLst>
                <a:ext uri="{FF2B5EF4-FFF2-40B4-BE49-F238E27FC236}">
                  <a16:creationId xmlns:a16="http://schemas.microsoft.com/office/drawing/2014/main" id="{9453C476-6A1F-6F4B-B61B-60632A79C479}"/>
                </a:ext>
              </a:extLst>
            </p:cNvPr>
            <p:cNvSpPr txBox="1"/>
            <p:nvPr userDrawn="1"/>
          </p:nvSpPr>
          <p:spPr>
            <a:xfrm>
              <a:off x="19593463" y="9992157"/>
              <a:ext cx="1296343" cy="3411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57200">
                <a:lnSpc>
                  <a:spcPct val="100000"/>
                </a:lnSpc>
                <a:defRPr sz="900" spc="0"/>
              </a:pPr>
              <a:r>
                <a:rPr sz="500"/>
                <a:t>R0 G0 B0</a:t>
              </a:r>
              <a:endParaRPr sz="900" b="1">
                <a:latin typeface="Times"/>
                <a:ea typeface="Times"/>
                <a:cs typeface="Times"/>
                <a:sym typeface="Times"/>
              </a:endParaRPr>
            </a:p>
          </p:txBody>
        </p:sp>
        <p:sp>
          <p:nvSpPr>
            <p:cNvPr id="44" name="Primary">
              <a:extLst>
                <a:ext uri="{FF2B5EF4-FFF2-40B4-BE49-F238E27FC236}">
                  <a16:creationId xmlns:a16="http://schemas.microsoft.com/office/drawing/2014/main" id="{4D7F0525-8509-7440-9B56-5C9B5A392AC3}"/>
                </a:ext>
              </a:extLst>
            </p:cNvPr>
            <p:cNvSpPr txBox="1"/>
            <p:nvPr userDrawn="1"/>
          </p:nvSpPr>
          <p:spPr>
            <a:xfrm>
              <a:off x="8499613" y="6182286"/>
              <a:ext cx="1050978"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5" name="Secondary">
              <a:extLst>
                <a:ext uri="{FF2B5EF4-FFF2-40B4-BE49-F238E27FC236}">
                  <a16:creationId xmlns:a16="http://schemas.microsoft.com/office/drawing/2014/main" id="{5E702E4A-2EA6-964A-93A1-9C4BAF12C7D8}"/>
                </a:ext>
              </a:extLst>
            </p:cNvPr>
            <p:cNvSpPr txBox="1"/>
            <p:nvPr userDrawn="1"/>
          </p:nvSpPr>
          <p:spPr>
            <a:xfrm>
              <a:off x="8223066" y="6837393"/>
              <a:ext cx="1373886"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sp>
          <p:nvSpPr>
            <p:cNvPr id="46" name="Primary">
              <a:extLst>
                <a:ext uri="{FF2B5EF4-FFF2-40B4-BE49-F238E27FC236}">
                  <a16:creationId xmlns:a16="http://schemas.microsoft.com/office/drawing/2014/main" id="{C85AA88D-ABA8-CA45-A711-450C99C591DA}"/>
                </a:ext>
              </a:extLst>
            </p:cNvPr>
            <p:cNvSpPr txBox="1"/>
            <p:nvPr userDrawn="1"/>
          </p:nvSpPr>
          <p:spPr>
            <a:xfrm>
              <a:off x="8499613" y="7633852"/>
              <a:ext cx="1050978"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Primary</a:t>
              </a:r>
            </a:p>
          </p:txBody>
        </p:sp>
        <p:sp>
          <p:nvSpPr>
            <p:cNvPr id="47" name="Secondary">
              <a:extLst>
                <a:ext uri="{FF2B5EF4-FFF2-40B4-BE49-F238E27FC236}">
                  <a16:creationId xmlns:a16="http://schemas.microsoft.com/office/drawing/2014/main" id="{94453EE1-87C3-2D46-93BB-5E00970CC893}"/>
                </a:ext>
              </a:extLst>
            </p:cNvPr>
            <p:cNvSpPr txBox="1"/>
            <p:nvPr userDrawn="1"/>
          </p:nvSpPr>
          <p:spPr>
            <a:xfrm>
              <a:off x="8223069" y="8332857"/>
              <a:ext cx="1373886" cy="8011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50"/>
                <a:t>Secondary</a:t>
              </a:r>
            </a:p>
          </p:txBody>
        </p:sp>
      </p:grpSp>
      <p:sp>
        <p:nvSpPr>
          <p:cNvPr id="49" name="Title 1">
            <a:extLst>
              <a:ext uri="{FF2B5EF4-FFF2-40B4-BE49-F238E27FC236}">
                <a16:creationId xmlns:a16="http://schemas.microsoft.com/office/drawing/2014/main" id="{74542BF3-1FF1-1A48-92AE-8BBE0A9573BC}"/>
              </a:ext>
            </a:extLst>
          </p:cNvPr>
          <p:cNvSpPr>
            <a:spLocks noGrp="1"/>
          </p:cNvSpPr>
          <p:nvPr>
            <p:ph type="title" hasCustomPrompt="1"/>
          </p:nvPr>
        </p:nvSpPr>
        <p:spPr>
          <a:xfrm>
            <a:off x="588416" y="571501"/>
            <a:ext cx="11023996" cy="430887"/>
          </a:xfrm>
          <a:prstGeom prst="rect">
            <a:avLst/>
          </a:prstGeom>
        </p:spPr>
        <p:txBody>
          <a:bodyPr wrap="square" lIns="0" tIns="0" rIns="0" bIns="0">
            <a:spAutoFit/>
          </a:bodyPr>
          <a:lstStyle>
            <a:lvl1pPr marL="4571">
              <a:lnSpc>
                <a:spcPct val="100000"/>
              </a:lnSpc>
              <a:defRPr sz="2800" b="0" i="0" cap="none" spc="0" baseline="0">
                <a:solidFill>
                  <a:srgbClr val="2F2F2F"/>
                </a:solidFill>
                <a:latin typeface="Segoe UI Semibold" panose="020B0502040204020203" pitchFamily="34" charset="0"/>
                <a:cs typeface="Segoe UI Semibold" panose="020B0502040204020203" pitchFamily="34" charset="0"/>
              </a:defRPr>
            </a:lvl1pPr>
          </a:lstStyle>
          <a:p>
            <a:r>
              <a:rPr lang="en-US"/>
              <a:t>List</a:t>
            </a:r>
          </a:p>
        </p:txBody>
      </p:sp>
      <p:sp>
        <p:nvSpPr>
          <p:cNvPr id="50" name="Text Placeholder 6">
            <a:extLst>
              <a:ext uri="{FF2B5EF4-FFF2-40B4-BE49-F238E27FC236}">
                <a16:creationId xmlns:a16="http://schemas.microsoft.com/office/drawing/2014/main" id="{F02C43B8-DD0F-C048-9F6E-784256D487F9}"/>
              </a:ext>
            </a:extLst>
          </p:cNvPr>
          <p:cNvSpPr>
            <a:spLocks noGrp="1"/>
          </p:cNvSpPr>
          <p:nvPr>
            <p:ph type="body" sz="quarter" idx="10" hasCustomPrompt="1"/>
          </p:nvPr>
        </p:nvSpPr>
        <p:spPr>
          <a:xfrm>
            <a:off x="574245" y="2019300"/>
            <a:ext cx="11038167" cy="1877437"/>
          </a:xfrm>
          <a:prstGeom prst="rect">
            <a:avLst/>
          </a:prstGeom>
        </p:spPr>
        <p:txBody>
          <a:bodyPr/>
          <a:lstStyle>
            <a:lvl1pPr marL="342900" marR="0" indent="-342900" algn="l" defTabSz="457109" rtl="0" eaLnBrk="1" fontAlgn="auto" latinLnBrk="0" hangingPunct="1">
              <a:lnSpc>
                <a:spcPct val="100000"/>
              </a:lnSpc>
              <a:spcBef>
                <a:spcPts val="600"/>
              </a:spcBef>
              <a:spcAft>
                <a:spcPts val="600"/>
              </a:spcAft>
              <a:buClrTx/>
              <a:buSzTx/>
              <a:buFont typeface="Arial" panose="020B0604020202020204" pitchFamily="34" charset="0"/>
              <a:buChar char="•"/>
              <a:tabLst/>
              <a:defRPr sz="2000" spc="0" baseline="0">
                <a:solidFill>
                  <a:srgbClr val="2F2F2F"/>
                </a:solidFill>
                <a:latin typeface="Segoe UI" panose="020B0502040204020203" pitchFamily="34" charset="0"/>
                <a:cs typeface="Segoe UI" panose="020B0502040204020203" pitchFamily="34" charset="0"/>
              </a:defRPr>
            </a:lvl1pPr>
          </a:lstStyle>
          <a:p>
            <a:pPr lvl="0"/>
            <a:r>
              <a:rPr lang="en-US"/>
              <a:t>Bulleted list, 20-24pt</a:t>
            </a:r>
          </a:p>
          <a:p>
            <a:pPr lvl="0"/>
            <a:r>
              <a:rPr lang="en-US"/>
              <a:t>Bulleted list, 20-24pt</a:t>
            </a:r>
          </a:p>
          <a:p>
            <a:pPr lvl="0"/>
            <a:r>
              <a:rPr lang="en-US"/>
              <a:t>Bulleted list, 20-24pt</a:t>
            </a:r>
          </a:p>
          <a:p>
            <a:pPr lvl="0"/>
            <a:endParaRPr lang="en-US"/>
          </a:p>
        </p:txBody>
      </p:sp>
    </p:spTree>
    <p:extLst>
      <p:ext uri="{BB962C8B-B14F-4D97-AF65-F5344CB8AC3E}">
        <p14:creationId xmlns:p14="http://schemas.microsoft.com/office/powerpoint/2010/main" val="22172104"/>
      </p:ext>
    </p:extLst>
  </p:cSld>
  <p:clrMapOvr>
    <a:masterClrMapping/>
  </p:clrMapOvr>
  <p:transition spd="med"/>
  <p:extLst>
    <p:ext uri="{DCECCB84-F9BA-43D5-87BE-67443E8EF086}">
      <p15:sldGuideLst xmlns:p15="http://schemas.microsoft.com/office/powerpoint/2012/main">
        <p15:guide id="1" orient="horz" pos="1272">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827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2"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Segoe UI" panose="020B0502040204020203" pitchFamily="34" charset="0"/>
              </a:defRPr>
            </a:lvl1pPr>
          </a:lstStyle>
          <a:p>
            <a:pPr lvl="0"/>
            <a:r>
              <a:rPr lang="en-US"/>
              <a:t>Speaker name</a:t>
            </a:r>
          </a:p>
        </p:txBody>
      </p:sp>
      <p:pic>
        <p:nvPicPr>
          <p:cNvPr id="6" name="MS logo white - EMF" descr="Microsoft logo white text version">
            <a:extLst>
              <a:ext uri="{FF2B5EF4-FFF2-40B4-BE49-F238E27FC236}">
                <a16:creationId xmlns:a16="http://schemas.microsoft.com/office/drawing/2014/main" id="{82B3A4A2-A5B9-4194-9B94-ED6A4B7888C0}"/>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28183801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rgbClr val="00827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2"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7"/>
            <a:ext cx="8964186" cy="715931"/>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Segoe UI" panose="020B0502040204020203" pitchFamily="34" charset="0"/>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48213" y="470067"/>
            <a:ext cx="1454257" cy="304828"/>
          </a:xfrm>
          <a:prstGeom prst="rect">
            <a:avLst/>
          </a:prstGeom>
        </p:spPr>
      </p:pic>
    </p:spTree>
    <p:extLst>
      <p:ext uri="{BB962C8B-B14F-4D97-AF65-F5344CB8AC3E}">
        <p14:creationId xmlns:p14="http://schemas.microsoft.com/office/powerpoint/2010/main" val="4018794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descr="Two people sitting at a table using a computer.&#10;&#10;Description automatically generated">
            <a:extLst>
              <a:ext uri="{FF2B5EF4-FFF2-40B4-BE49-F238E27FC236}">
                <a16:creationId xmlns:a16="http://schemas.microsoft.com/office/drawing/2014/main" id="{F9A7CF8A-30D6-48AA-AAA3-9F874DD7018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1922776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6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3"/>
          <a:stretch>
            <a:fillRect/>
          </a:stretch>
        </p:blipFill>
        <p:spPr>
          <a:xfrm>
            <a:off x="448526" y="6041180"/>
            <a:ext cx="1613705" cy="346697"/>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2"/>
          <p:cNvSpPr txBox="1">
            <a:spLocks/>
          </p:cNvSpPr>
          <p:nvPr userDrawn="1"/>
        </p:nvSpPr>
        <p:spPr bwMode="auto">
          <a:xfrm>
            <a:off x="358944" y="201451"/>
            <a:ext cx="2958170" cy="537925"/>
          </a:xfrm>
          <a:prstGeom prst="rect">
            <a:avLst/>
          </a:prstGeom>
        </p:spPr>
        <p:txBody>
          <a:bodyPr vert="horz" wrap="square" lIns="143391" tIns="107543" rIns="143391" bIns="107543"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a:solidFill>
                  <a:schemeClr val="tx1">
                    <a:lumMod val="75000"/>
                  </a:schemeClr>
                </a:solidFill>
                <a:latin typeface="Segoe UI" panose="020B0502040204020203" pitchFamily="34" charset="0"/>
              </a:rPr>
              <a:t>Microsoft Services</a:t>
            </a:r>
          </a:p>
        </p:txBody>
      </p:sp>
    </p:spTree>
    <p:extLst>
      <p:ext uri="{BB962C8B-B14F-4D97-AF65-F5344CB8AC3E}">
        <p14:creationId xmlns:p14="http://schemas.microsoft.com/office/powerpoint/2010/main" val="3480989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8"/>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panose="020B0502040204020203" pitchFamily="34" charset="0"/>
              </a:defRPr>
            </a:lvl1pPr>
          </a:lstStyle>
          <a:p>
            <a:pPr lvl="0"/>
            <a:r>
              <a:rPr lang="en-US"/>
              <a:t>Speaker Name</a:t>
            </a:r>
          </a:p>
        </p:txBody>
      </p:sp>
    </p:spTree>
    <p:extLst>
      <p:ext uri="{BB962C8B-B14F-4D97-AF65-F5344CB8AC3E}">
        <p14:creationId xmlns:p14="http://schemas.microsoft.com/office/powerpoint/2010/main" val="1109123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8"/>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Segoe UI" panose="020B0502040204020203" pitchFamily="34" charset="0"/>
                <a:ea typeface="+mn-ea"/>
                <a:cs typeface="Segoe UI" pitchFamily="34" charset="0"/>
              </a:defRPr>
            </a:lvl1pPr>
          </a:lstStyle>
          <a:p>
            <a:r>
              <a:rPr lang="en-US"/>
              <a:t>Video title</a:t>
            </a:r>
          </a:p>
        </p:txBody>
      </p:sp>
    </p:spTree>
    <p:extLst>
      <p:ext uri="{BB962C8B-B14F-4D97-AF65-F5344CB8AC3E}">
        <p14:creationId xmlns:p14="http://schemas.microsoft.com/office/powerpoint/2010/main" val="1963878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31051995"/>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00839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solidFill>
                  <a:srgbClr val="008272"/>
                </a:solidFill>
              </a:defRPr>
            </a:lvl1pPr>
          </a:lstStyle>
          <a:p>
            <a:r>
              <a:rPr lang="en-US"/>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Segoe UI" panose="020B0502040204020203" pitchFamily="34" charset="0"/>
              </a:defRPr>
            </a:lvl1pPr>
          </a:lstStyle>
          <a:p>
            <a:r>
              <a:rPr lang="en-US"/>
              <a:t>Click icon to add picture</a:t>
            </a:r>
          </a:p>
        </p:txBody>
      </p:sp>
    </p:spTree>
    <p:extLst>
      <p:ext uri="{BB962C8B-B14F-4D97-AF65-F5344CB8AC3E}">
        <p14:creationId xmlns:p14="http://schemas.microsoft.com/office/powerpoint/2010/main" val="2397013176"/>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Square Right Photo Layout">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70289" y="552001"/>
            <a:ext cx="4795873" cy="1484704"/>
          </a:xfrm>
        </p:spPr>
        <p:txBody>
          <a:bodyPr wrap="square" anchor="ctr">
            <a:spAutoFit/>
          </a:bodyPr>
          <a:lstStyle>
            <a:lvl1pPr>
              <a:defRPr sz="4704" baseline="0">
                <a:solidFill>
                  <a:schemeClr val="bg1"/>
                </a:solidFill>
              </a:defRPr>
            </a:lvl1pPr>
          </a:lstStyle>
          <a:p>
            <a:r>
              <a:rPr lang="en-US"/>
              <a:t>Square photo layout</a:t>
            </a:r>
          </a:p>
        </p:txBody>
      </p:sp>
      <p:pic>
        <p:nvPicPr>
          <p:cNvPr id="3" name="Picture 2">
            <a:extLst>
              <a:ext uri="{FF2B5EF4-FFF2-40B4-BE49-F238E27FC236}">
                <a16:creationId xmlns:a16="http://schemas.microsoft.com/office/drawing/2014/main" id="{7FFCA2A4-47A7-435F-926A-3D3F1B650712}"/>
              </a:ext>
            </a:extLst>
          </p:cNvPr>
          <p:cNvPicPr>
            <a:picLocks noChangeAspect="1"/>
          </p:cNvPicPr>
          <p:nvPr userDrawn="1"/>
        </p:nvPicPr>
        <p:blipFill>
          <a:blip r:embed="rId2"/>
          <a:stretch>
            <a:fillRect/>
          </a:stretch>
        </p:blipFill>
        <p:spPr>
          <a:xfrm>
            <a:off x="2" y="0"/>
            <a:ext cx="6857027" cy="6858000"/>
          </a:xfrm>
          <a:prstGeom prst="rect">
            <a:avLst/>
          </a:prstGeom>
        </p:spPr>
      </p:pic>
    </p:spTree>
    <p:extLst>
      <p:ext uri="{BB962C8B-B14F-4D97-AF65-F5344CB8AC3E}">
        <p14:creationId xmlns:p14="http://schemas.microsoft.com/office/powerpoint/2010/main" val="4321968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7349663"/>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827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005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828" fontAlgn="base">
              <a:spcBef>
                <a:spcPct val="0"/>
              </a:spcBef>
              <a:spcAft>
                <a:spcPct val="0"/>
              </a:spcAft>
            </a:pPr>
            <a:endParaRPr lang="en-US" sz="1764">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5" name="Text Placeholder 4"/>
          <p:cNvSpPr>
            <a:spLocks noGrp="1"/>
          </p:cNvSpPr>
          <p:nvPr>
            <p:ph type="body" sz="quarter" idx="10"/>
          </p:nvPr>
        </p:nvSpPr>
        <p:spPr>
          <a:xfrm>
            <a:off x="269240" y="1197322"/>
            <a:ext cx="11653522" cy="2225866"/>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2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27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98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550274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791101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descr="Two people sitting at a table using a computer.&#10;&#10;Description automatically generated">
            <a:extLst>
              <a:ext uri="{FF2B5EF4-FFF2-40B4-BE49-F238E27FC236}">
                <a16:creationId xmlns:a16="http://schemas.microsoft.com/office/drawing/2014/main" id="{EF611E5D-50E2-478F-8A1D-7D2ACFE3487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932658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827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238" tIns="179238" rIns="179238" bIns="179238" numCol="1" anchor="t" anchorCtr="0" compatLnSpc="1">
            <a:prstTxWarp prst="textNoShape">
              <a:avLst/>
            </a:prstTxWarp>
            <a:spAutoFit/>
          </a:bodyPr>
          <a:lstStyle/>
          <a:p>
            <a:pPr defTabSz="913650" eaLnBrk="0" hangingPunct="0"/>
            <a:r>
              <a:rPr lang="en-US" sz="686">
                <a:solidFill>
                  <a:schemeClr val="bg1"/>
                </a:solidFill>
                <a:latin typeface="Segoe UI" panose="020B0502040204020203" pitchFamily="34" charset="0"/>
                <a:cs typeface="Segoe UI" pitchFamily="34" charset="0"/>
              </a:rPr>
              <a:t>© Copyright Microsoft Corporation. All rights reserved. </a:t>
            </a:r>
          </a:p>
        </p:txBody>
      </p:sp>
    </p:spTree>
    <p:extLst>
      <p:ext uri="{BB962C8B-B14F-4D97-AF65-F5344CB8AC3E}">
        <p14:creationId xmlns:p14="http://schemas.microsoft.com/office/powerpoint/2010/main" val="3183744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396047"/>
          </a:xfrm>
          <a:prstGeom prst="rect">
            <a:avLst/>
          </a:prstGeom>
        </p:spPr>
        <p:txBody>
          <a:bodyPr/>
          <a:lstStyle>
            <a:lvl1pPr marL="284705" indent="-28470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5104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6CAB0-3422-4FC0-BDB6-1D282890E20A}"/>
              </a:ext>
            </a:extLst>
          </p:cNvPr>
          <p:cNvSpPr>
            <a:spLocks noGrp="1"/>
          </p:cNvSpPr>
          <p:nvPr>
            <p:ph type="ctrTitle"/>
          </p:nvPr>
        </p:nvSpPr>
        <p:spPr>
          <a:xfrm>
            <a:off x="1524001"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9A6017E1-BC0F-403F-9E7B-15068D7527EF}"/>
              </a:ext>
            </a:extLst>
          </p:cNvPr>
          <p:cNvSpPr>
            <a:spLocks noGrp="1"/>
          </p:cNvSpPr>
          <p:nvPr>
            <p:ph type="subTitle" idx="1"/>
          </p:nvPr>
        </p:nvSpPr>
        <p:spPr>
          <a:xfrm>
            <a:off x="1524001" y="3602038"/>
            <a:ext cx="9144000" cy="516936"/>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BD7730-BB2A-457A-8829-467FA46D9B8C}"/>
              </a:ext>
            </a:extLst>
          </p:cNvPr>
          <p:cNvSpPr>
            <a:spLocks noGrp="1"/>
          </p:cNvSpPr>
          <p:nvPr>
            <p:ph type="dt" sz="half" idx="10"/>
          </p:nvPr>
        </p:nvSpPr>
        <p:spPr/>
        <p:txBody>
          <a:bodyPr/>
          <a:lstStyle>
            <a:lvl1pPr>
              <a:defRPr>
                <a:latin typeface="Segoe UI" panose="020B0502040204020203" pitchFamily="34" charset="0"/>
              </a:defRPr>
            </a:lvl1pPr>
          </a:lstStyle>
          <a:p>
            <a:fld id="{C4DED5F9-56B2-4A48-B2B7-90C4B88360C8}" type="datetimeFigureOut">
              <a:rPr lang="en-US" smtClean="0"/>
              <a:pPr/>
              <a:t>3/29/2021</a:t>
            </a:fld>
            <a:endParaRPr lang="en-US"/>
          </a:p>
        </p:txBody>
      </p:sp>
      <p:sp>
        <p:nvSpPr>
          <p:cNvPr id="5" name="Footer Placeholder 4">
            <a:extLst>
              <a:ext uri="{FF2B5EF4-FFF2-40B4-BE49-F238E27FC236}">
                <a16:creationId xmlns:a16="http://schemas.microsoft.com/office/drawing/2014/main" id="{387877F3-FC0F-4667-AF43-BFD0915D830B}"/>
              </a:ext>
            </a:extLst>
          </p:cNvPr>
          <p:cNvSpPr>
            <a:spLocks noGrp="1"/>
          </p:cNvSpPr>
          <p:nvPr>
            <p:ph type="ftr" sz="quarter" idx="11"/>
          </p:nvPr>
        </p:nvSpPr>
        <p:spPr/>
        <p:txBody>
          <a:bodyPr/>
          <a:lstStyle>
            <a:lvl1pPr>
              <a:defRPr>
                <a:latin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3E090D61-9BC1-44B8-AA82-5367AC5F8F90}"/>
              </a:ext>
            </a:extLst>
          </p:cNvPr>
          <p:cNvSpPr>
            <a:spLocks noGrp="1"/>
          </p:cNvSpPr>
          <p:nvPr>
            <p:ph type="sldNum" sz="quarter" idx="12"/>
          </p:nvPr>
        </p:nvSpPr>
        <p:spPr/>
        <p:txBody>
          <a:bodyPr/>
          <a:lstStyle>
            <a:lvl1pPr>
              <a:defRPr>
                <a:latin typeface="Segoe UI" panose="020B0502040204020203" pitchFamily="34" charset="0"/>
              </a:defRPr>
            </a:lvl1pPr>
          </a:lstStyle>
          <a:p>
            <a:fld id="{8D79F186-46CD-496E-AFA0-4B0705A2A114}" type="slidenum">
              <a:rPr lang="en-US" smtClean="0"/>
              <a:pPr/>
              <a:t>‹#›</a:t>
            </a:fld>
            <a:endParaRPr lang="en-US"/>
          </a:p>
        </p:txBody>
      </p:sp>
    </p:spTree>
    <p:extLst>
      <p:ext uri="{BB962C8B-B14F-4D97-AF65-F5344CB8AC3E}">
        <p14:creationId xmlns:p14="http://schemas.microsoft.com/office/powerpoint/2010/main" val="3625289707"/>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1394297"/>
            <a:ext cx="4167887" cy="2139240"/>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3"/>
            <a:ext cx="4164583" cy="276999"/>
          </a:xfrm>
          <a:noFill/>
        </p:spPr>
        <p:txBody>
          <a:bodyPr wrap="square" lIns="0" tIns="0" rIns="0" bIns="0">
            <a:spAutoFit/>
          </a:bodyPr>
          <a:lstStyle>
            <a:lvl1pPr marL="0" indent="0">
              <a:spcBef>
                <a:spcPts val="0"/>
              </a:spcBef>
              <a:buNone/>
              <a:defRPr sz="1999" spc="0" baseline="0">
                <a:gradFill>
                  <a:gsLst>
                    <a:gs pos="91000">
                      <a:schemeClr val="tx1"/>
                    </a:gs>
                    <a:gs pos="0">
                      <a:schemeClr val="tx1"/>
                    </a:gs>
                  </a:gsLst>
                  <a:lin ang="5400000" scaled="0"/>
                </a:gradFill>
                <a:latin typeface="Segoe UI" panose="020B0502040204020203" pitchFamily="34" charset="0"/>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2293182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1" y="0"/>
            <a:ext cx="12192000" cy="1219200"/>
          </a:xfrm>
          <a:prstGeom prst="rect">
            <a:avLst/>
          </a:prstGeom>
          <a:solidFill>
            <a:srgbClr val="0A5BBA">
              <a:alpha val="89804"/>
            </a:srgbClr>
          </a:solidFill>
        </p:spPr>
        <p:txBody>
          <a:bodyPr lIns="182880" tIns="91440" rIns="91440" bIns="91440" anchor="ctr">
            <a:normAutofit/>
          </a:bodyPr>
          <a:lstStyle>
            <a:lvl1pPr>
              <a:defRPr sz="3199"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3"/>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609600" y="1219200"/>
            <a:ext cx="10972801" cy="4876800"/>
          </a:xfrm>
          <a:noFill/>
        </p:spPr>
        <p:txBody>
          <a:bodyPr lIns="182880" tIns="91440" rIns="91440" bIns="91440">
            <a:normAutofit/>
          </a:bodyPr>
          <a:lstStyle>
            <a:lvl1pPr marL="304701" indent="-304701">
              <a:lnSpc>
                <a:spcPct val="100000"/>
              </a:lnSpc>
              <a:buFont typeface="Arial" pitchFamily="34" charset="0"/>
              <a:buChar char="•"/>
              <a:defRPr/>
            </a:lvl1pPr>
            <a:lvl2pPr marL="609402" indent="-300469">
              <a:lnSpc>
                <a:spcPct val="100000"/>
              </a:lnSpc>
              <a:buFont typeface="Arial" pitchFamily="34" charset="0"/>
              <a:buChar char="•"/>
              <a:defRPr/>
            </a:lvl2pPr>
            <a:lvl3pPr marL="914103" indent="-304701">
              <a:lnSpc>
                <a:spcPct val="100000"/>
              </a:lnSpc>
              <a:buFont typeface="Arial" pitchFamily="34" charset="0"/>
              <a:buChar char="•"/>
              <a:defRPr/>
            </a:lvl3pPr>
            <a:lvl4pPr marL="1218804" indent="-304701">
              <a:lnSpc>
                <a:spcPct val="100000"/>
              </a:lnSpc>
              <a:buFont typeface="Arial" pitchFamily="34" charset="0"/>
              <a:buChar char="•"/>
              <a:defRPr/>
            </a:lvl4pPr>
            <a:lvl5pPr marL="1523505" indent="-304701">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121126592"/>
      </p:ext>
    </p:extLst>
  </p:cSld>
  <p:clrMapOvr>
    <a:masterClrMapping/>
  </p:clrMapOvr>
  <p:transition>
    <p:fade/>
  </p:transition>
  <p:hf hdr="0" ftr="0" dt="0"/>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5391998"/>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004B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36982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cSld name="Title Only - blu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99">
                <a:solidFill>
                  <a:schemeClr val="tx2"/>
                </a:solidFill>
              </a:defRPr>
            </a:lvl1pPr>
          </a:lstStyle>
          <a:p>
            <a:r>
              <a:rPr lang="en-US"/>
              <a:t>Click to edit Master title style</a:t>
            </a:r>
          </a:p>
        </p:txBody>
      </p:sp>
    </p:spTree>
    <p:extLst>
      <p:ext uri="{BB962C8B-B14F-4D97-AF65-F5344CB8AC3E}">
        <p14:creationId xmlns:p14="http://schemas.microsoft.com/office/powerpoint/2010/main" val="2103503973"/>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7"/>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2399"/>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6054618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
        <p:nvSpPr>
          <p:cNvPr id="9" name="Title 1"/>
          <p:cNvSpPr>
            <a:spLocks noGrp="1"/>
          </p:cNvSpPr>
          <p:nvPr>
            <p:ph type="title" hasCustomPrompt="1"/>
          </p:nvPr>
        </p:nvSpPr>
        <p:spPr>
          <a:xfrm>
            <a:off x="584201" y="2979778"/>
            <a:ext cx="9144000" cy="553998"/>
          </a:xfrm>
          <a:noFill/>
        </p:spPr>
        <p:txBody>
          <a:bodyPr lIns="0" tIns="0" rIns="0" bIns="0" anchor="b" anchorCtr="0">
            <a:spAutoFit/>
          </a:bodyPr>
          <a:lstStyle>
            <a:lvl1pPr>
              <a:defRPr sz="3599"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1" y="3962400"/>
            <a:ext cx="9144000" cy="338554"/>
          </a:xfrm>
          <a:noFill/>
        </p:spPr>
        <p:txBody>
          <a:bodyPr wrap="square" lIns="0" tIns="0" rIns="0" bIns="0">
            <a:spAutoFit/>
          </a:bodyPr>
          <a:lstStyle>
            <a:lvl1pPr marL="0" indent="0">
              <a:spcBef>
                <a:spcPts val="0"/>
              </a:spcBef>
              <a:buNone/>
              <a:defRPr sz="21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9" y="589607"/>
            <a:ext cx="3200400" cy="307648"/>
          </a:xfrm>
        </p:spPr>
        <p:txBody>
          <a:bodyPr lIns="0" tIns="0" rIns="0" bIns="0"/>
          <a:lstStyle>
            <a:lvl1pPr marL="0" indent="0" algn="r">
              <a:buNone/>
              <a:defRPr sz="1999">
                <a:latin typeface="+mn-lt"/>
              </a:defRPr>
            </a:lvl1pPr>
            <a:lvl2pPr marL="342797" indent="0">
              <a:buNone/>
              <a:defRPr sz="1999"/>
            </a:lvl2pPr>
            <a:lvl3pPr marL="571329" indent="0">
              <a:buNone/>
              <a:defRPr sz="1999"/>
            </a:lvl3pPr>
            <a:lvl4pPr marL="799860" indent="0">
              <a:buNone/>
              <a:defRPr sz="1999"/>
            </a:lvl4pPr>
            <a:lvl5pPr marL="1028391" indent="0">
              <a:buNone/>
              <a:defRPr sz="1999"/>
            </a:lvl5pPr>
          </a:lstStyle>
          <a:p>
            <a:pPr lvl="0"/>
            <a:r>
              <a:rPr lang="en-US"/>
              <a:t>Session code</a:t>
            </a:r>
          </a:p>
        </p:txBody>
      </p:sp>
    </p:spTree>
    <p:extLst>
      <p:ext uri="{BB962C8B-B14F-4D97-AF65-F5344CB8AC3E}">
        <p14:creationId xmlns:p14="http://schemas.microsoft.com/office/powerpoint/2010/main" val="14261066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871050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1808717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612493"/>
          </a:xfrm>
        </p:spPr>
        <p:txBody>
          <a:bodyPr wrap="square">
            <a:spAutoFit/>
          </a:bodyPr>
          <a:lstStyle>
            <a:lvl1pPr marL="0" indent="0">
              <a:buNone/>
              <a:defRPr/>
            </a:lvl1pPr>
            <a:lvl2pPr marL="228531" indent="0">
              <a:buNone/>
              <a:defRPr/>
            </a:lvl2pPr>
            <a:lvl3pPr marL="457063" indent="0">
              <a:buNone/>
              <a:defRPr/>
            </a:lvl3pPr>
            <a:lvl4pPr marL="685594" indent="0">
              <a:buNone/>
              <a:defRPr/>
            </a:lvl4pPr>
            <a:lvl5pPr marL="91412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540723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1"/>
            <a:ext cx="5211763"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131006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60056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828285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1999"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624155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461"/>
            <a:ext cx="4158362" cy="1107739"/>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5" cy="338426"/>
          </a:xfrm>
        </p:spPr>
        <p:txBody>
          <a:bodyPr/>
          <a:lstStyle>
            <a:lvl1pPr marL="0" indent="0">
              <a:buNone/>
              <a:defRPr sz="2199">
                <a:latin typeface="+mn-lt"/>
              </a:defRPr>
            </a:lvl1pPr>
            <a:lvl2pPr marL="228531" indent="0">
              <a:buNone/>
              <a:defRPr/>
            </a:lvl2pPr>
            <a:lvl3pPr marL="457063" indent="0">
              <a:buNone/>
              <a:defRPr/>
            </a:lvl3pPr>
            <a:lvl4pPr marL="661789" indent="0">
              <a:buNone/>
              <a:defRPr/>
            </a:lvl4pPr>
            <a:lvl5pPr marL="855406"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9875627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4" y="2873545"/>
            <a:ext cx="4159950" cy="110773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2432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518"/>
          </a:xfrm>
        </p:spPr>
        <p:txBody>
          <a:bodyPr anchor="t"/>
          <a:lstStyle>
            <a:lvl1pPr>
              <a:defRPr sz="2799"/>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9"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045004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4" y="5436192"/>
            <a:ext cx="11018520" cy="553870"/>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769640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48967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4" y="866351"/>
            <a:ext cx="11018520" cy="553870"/>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0"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408996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4" y="457200"/>
            <a:ext cx="11018520" cy="55387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648"/>
          </a:xfrm>
        </p:spPr>
        <p:txBody>
          <a:bodyPr/>
          <a:lstStyle>
            <a:lvl1pPr marL="0" indent="0" algn="ctr">
              <a:spcBef>
                <a:spcPts val="0"/>
              </a:spcBef>
              <a:buNone/>
              <a:defRPr sz="1999"/>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648"/>
          </a:xfrm>
        </p:spPr>
        <p:txBody>
          <a:bodyPr/>
          <a:lstStyle>
            <a:lvl1pPr marL="0" indent="0" algn="ctr">
              <a:spcBef>
                <a:spcPts val="0"/>
              </a:spcBef>
              <a:buNone/>
              <a:defRPr sz="1999"/>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3597713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4" y="457200"/>
            <a:ext cx="11018520" cy="55387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648"/>
          </a:xfrm>
        </p:spPr>
        <p:txBody>
          <a:bodyPr/>
          <a:lstStyle>
            <a:lvl1pPr marL="0" indent="0" algn="ctr">
              <a:spcBef>
                <a:spcPts val="0"/>
              </a:spcBef>
              <a:buNone/>
              <a:defRPr sz="1999"/>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648"/>
          </a:xfrm>
        </p:spPr>
        <p:txBody>
          <a:bodyPr/>
          <a:lstStyle>
            <a:lvl1pPr marL="0" indent="0" algn="ctr">
              <a:spcBef>
                <a:spcPts val="0"/>
              </a:spcBef>
              <a:buNone/>
              <a:defRPr sz="1999"/>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1"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648"/>
          </a:xfrm>
        </p:spPr>
        <p:txBody>
          <a:bodyPr/>
          <a:lstStyle>
            <a:lvl1pPr marL="0" indent="0" algn="ctr">
              <a:spcBef>
                <a:spcPts val="0"/>
              </a:spcBef>
              <a:buNone/>
              <a:defRPr sz="1999"/>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853796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87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4128786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307648"/>
          </a:xfrm>
        </p:spPr>
        <p:txBody>
          <a:bodyPr/>
          <a:lstStyle>
            <a:lvl1pPr marL="0" indent="0">
              <a:buFontTx/>
              <a:buNone/>
              <a:defRPr sz="1999"/>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90529348"/>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1" y="2305842"/>
            <a:ext cx="3468956" cy="1107739"/>
          </a:xfrm>
        </p:spPr>
        <p:txBody>
          <a:bodyPr/>
          <a:lstStyle>
            <a:lvl1pPr>
              <a:defRPr sz="3599">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204"/>
          </a:xfrm>
        </p:spPr>
        <p:txBody>
          <a:bodyPr/>
          <a:lstStyle>
            <a:lvl1pPr marL="0" indent="0">
              <a:spcAft>
                <a:spcPts val="1200"/>
              </a:spcAft>
              <a:buNone/>
              <a:defRPr sz="2399"/>
            </a:lvl1pPr>
            <a:lvl2pPr marL="228531"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1"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51699827"/>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l" defTabSz="932192"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78"/>
            <a:ext cx="3183637" cy="55387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2034"/>
            <a:ext cx="6669658" cy="430759"/>
          </a:xfrm>
        </p:spPr>
        <p:txBody>
          <a:bodyPr anchor="ctr" anchorCtr="0"/>
          <a:lstStyle>
            <a:lvl1pPr marL="0" indent="0">
              <a:spcAft>
                <a:spcPts val="1200"/>
              </a:spcAft>
              <a:buNone/>
              <a:defRPr sz="2799"/>
            </a:lvl1pPr>
            <a:lvl2pPr marL="228531"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70688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l" defTabSz="932192"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78"/>
            <a:ext cx="3183637" cy="55387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2034"/>
            <a:ext cx="6669658" cy="430759"/>
          </a:xfrm>
        </p:spPr>
        <p:txBody>
          <a:bodyPr anchor="ctr" anchorCtr="0"/>
          <a:lstStyle>
            <a:lvl1pPr marL="0" indent="0">
              <a:spcAft>
                <a:spcPts val="1200"/>
              </a:spcAft>
              <a:buNone/>
              <a:defRPr sz="2799"/>
            </a:lvl1pPr>
            <a:lvl2pPr marL="228531"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733860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3150478"/>
            <a:ext cx="3182027" cy="55387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2035"/>
            <a:ext cx="6667500" cy="43075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1410821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199"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027229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024330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199"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98081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587143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85895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894287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833610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4" y="1436690"/>
            <a:ext cx="11018520" cy="1908215"/>
          </a:xfrm>
        </p:spPr>
        <p:txBody>
          <a:bodyPr/>
          <a:lstStyle>
            <a:lvl1pPr marL="0" indent="0">
              <a:buNone/>
              <a:defRPr sz="2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292507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1"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01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043691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90"/>
            <a:ext cx="11018838" cy="2215991"/>
          </a:xfrm>
        </p:spPr>
        <p:txBody>
          <a:bodyPr>
            <a:spAutoFit/>
          </a:bodyPr>
          <a:lstStyle>
            <a:lvl1pPr>
              <a:defRPr sz="3599">
                <a:latin typeface="+mn-lt"/>
              </a:defRPr>
            </a:lvl1pPr>
            <a:lvl2pPr>
              <a:defRPr sz="2799">
                <a:latin typeface="+mn-lt"/>
              </a:defRPr>
            </a:lvl2pPr>
            <a:lvl3pPr>
              <a:defRPr sz="2399">
                <a:latin typeface="+mn-lt"/>
              </a:defRPr>
            </a:lvl3pPr>
            <a:lvl4pPr>
              <a:defRPr sz="1999">
                <a:latin typeface="+mn-lt"/>
              </a:defRPr>
            </a:lvl4pPr>
            <a:lvl5pPr>
              <a:defRPr sz="1799">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096119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05454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32" tIns="146266" rIns="182832" bIns="146266" rtlCol="0" anchor="ctr">
            <a:spAutoFit/>
          </a:bodyPr>
          <a:lstStyle/>
          <a:p>
            <a:pPr algn="ctr">
              <a:lnSpc>
                <a:spcPct val="90000"/>
              </a:lnSpc>
              <a:spcBef>
                <a:spcPts val="1200"/>
              </a:spcBef>
              <a:spcAft>
                <a:spcPts val="600"/>
              </a:spcAft>
            </a:pPr>
            <a:r>
              <a:rPr lang="en-US" sz="1999">
                <a:gradFill>
                  <a:gsLst>
                    <a:gs pos="2917">
                      <a:schemeClr val="tx1"/>
                    </a:gs>
                    <a:gs pos="30000">
                      <a:schemeClr val="tx1"/>
                    </a:gs>
                  </a:gsLst>
                  <a:lin ang="5400000" scaled="0"/>
                </a:gradFill>
              </a:rPr>
              <a:t>Microsoft Ready content is </a:t>
            </a:r>
            <a:r>
              <a:rPr lang="en-US" sz="1999"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1999"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999">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1999"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999">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1999">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3"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1" rIns="0" bIns="46611" numCol="1" rtlCol="0" anchor="ctr" anchorCtr="0" compatLnSpc="1">
            <a:prstTxWarp prst="textNoShape">
              <a:avLst/>
            </a:prstTxWarp>
          </a:bodyPr>
          <a:lstStyle/>
          <a:p>
            <a:pPr marL="0" marR="0" lvl="0" indent="0" algn="ctr" defTabSz="931834"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1" rIns="0" bIns="46611" numCol="1" rtlCol="0" anchor="ctr" anchorCtr="0" compatLnSpc="1">
            <a:prstTxWarp prst="textNoShape">
              <a:avLst/>
            </a:prstTxWarp>
          </a:bodyPr>
          <a:lstStyle/>
          <a:p>
            <a:pPr marR="0" lvl="0" indent="0" algn="ctr" defTabSz="931834" fontAlgn="base">
              <a:lnSpc>
                <a:spcPct val="100000"/>
              </a:lnSpc>
              <a:spcBef>
                <a:spcPct val="0"/>
              </a:spcBef>
              <a:spcAft>
                <a:spcPct val="0"/>
              </a:spcAft>
              <a:buClrTx/>
              <a:buSzTx/>
              <a:buFontTx/>
              <a:buNone/>
              <a:tabLst/>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1" rIns="0" bIns="46611" numCol="1" rtlCol="0" anchor="ctr" anchorCtr="0" compatLnSpc="1">
            <a:prstTxWarp prst="textNoShape">
              <a:avLst/>
            </a:prstTxWarp>
          </a:bodyPr>
          <a:lstStyle/>
          <a:p>
            <a:pPr marR="0" lvl="0" indent="0" algn="ctr" defTabSz="931834" fontAlgn="base">
              <a:lnSpc>
                <a:spcPct val="100000"/>
              </a:lnSpc>
              <a:spcBef>
                <a:spcPct val="0"/>
              </a:spcBef>
              <a:spcAft>
                <a:spcPct val="0"/>
              </a:spcAft>
              <a:buClrTx/>
              <a:buSzTx/>
              <a:buFontTx/>
              <a:buNone/>
              <a:tabLst/>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7"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2399"/>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8"/>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5433465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41594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80"/>
            <a:ext cx="11653523" cy="161249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35674" y="6571862"/>
            <a:ext cx="3320653"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076">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50182610"/>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CAEC6540-64C7-9747-877E-6D8504F5DE51}"/>
              </a:ext>
            </a:extLst>
          </p:cNvPr>
          <p:cNvSpPr>
            <a:spLocks noGrp="1"/>
          </p:cNvSpPr>
          <p:nvPr>
            <p:ph type="title"/>
          </p:nvPr>
        </p:nvSpPr>
        <p:spPr>
          <a:xfrm>
            <a:off x="355602" y="96296"/>
            <a:ext cx="11403631" cy="777240"/>
          </a:xfrm>
          <a:prstGeom prst="rect">
            <a:avLst/>
          </a:prstGeom>
        </p:spPr>
        <p:txBody>
          <a:bodyPr vert="horz" lIns="121888" tIns="60944" rIns="121888" bIns="60944" rtlCol="0" anchor="t" anchorCtr="0">
            <a:noAutofit/>
          </a:bodyPr>
          <a:lstStyle>
            <a:lvl1pPr>
              <a:defRPr sz="4400"/>
            </a:lvl1pPr>
          </a:lstStyle>
          <a:p>
            <a:r>
              <a:rPr lang="en-US"/>
              <a:t>Click to edit Master title</a:t>
            </a:r>
          </a:p>
        </p:txBody>
      </p:sp>
      <p:sp>
        <p:nvSpPr>
          <p:cNvPr id="13" name="Content Placeholder 12">
            <a:extLst>
              <a:ext uri="{FF2B5EF4-FFF2-40B4-BE49-F238E27FC236}">
                <a16:creationId xmlns:a16="http://schemas.microsoft.com/office/drawing/2014/main" id="{986DAD2F-D448-354C-9ACF-03ED78E9AF94}"/>
              </a:ext>
            </a:extLst>
          </p:cNvPr>
          <p:cNvSpPr>
            <a:spLocks noGrp="1"/>
          </p:cNvSpPr>
          <p:nvPr>
            <p:ph sz="quarter" idx="13"/>
          </p:nvPr>
        </p:nvSpPr>
        <p:spPr>
          <a:xfrm>
            <a:off x="354870" y="923074"/>
            <a:ext cx="11403630" cy="2191369"/>
          </a:xfrm>
          <a:prstGeom prst="rect">
            <a:avLst/>
          </a:prstGeom>
        </p:spPr>
        <p:txBody>
          <a:bodyPr/>
          <a:lstStyle>
            <a:lvl1pPr marL="274201" indent="-274201">
              <a:defRPr sz="3200"/>
            </a:lvl1pPr>
            <a:lvl2pPr marL="576072" indent="-274320">
              <a:defRPr sz="2800"/>
            </a:lvl2pPr>
            <a:lvl3pPr marL="868680" indent="-274320">
              <a:defRPr sz="2400"/>
            </a:lvl3pPr>
            <a:lvl4pPr marL="1143000" indent="-274320">
              <a:defRPr sz="2000"/>
            </a:lvl4pPr>
            <a:lvl5pPr marL="1435608" indent="-274320">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510831"/>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827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2"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Segoe UI" panose="020B0502040204020203" pitchFamily="34" charset="0"/>
              </a:defRPr>
            </a:lvl1pPr>
          </a:lstStyle>
          <a:p>
            <a:pPr lvl="0"/>
            <a:r>
              <a:rPr lang="en-US"/>
              <a:t>Speaker name</a:t>
            </a:r>
          </a:p>
        </p:txBody>
      </p:sp>
      <p:pic>
        <p:nvPicPr>
          <p:cNvPr id="6" name="MS logo white - EMF" descr="Microsoft logo white text version">
            <a:extLst>
              <a:ext uri="{FF2B5EF4-FFF2-40B4-BE49-F238E27FC236}">
                <a16:creationId xmlns:a16="http://schemas.microsoft.com/office/drawing/2014/main" id="{82B3A4A2-A5B9-4194-9B94-ED6A4B7888C0}"/>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1854319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rgbClr val="00827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2"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7"/>
            <a:ext cx="8964186" cy="715931"/>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Segoe UI" panose="020B0502040204020203" pitchFamily="34" charset="0"/>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48213" y="470067"/>
            <a:ext cx="1454257" cy="304828"/>
          </a:xfrm>
          <a:prstGeom prst="rect">
            <a:avLst/>
          </a:prstGeom>
        </p:spPr>
      </p:pic>
    </p:spTree>
    <p:extLst>
      <p:ext uri="{BB962C8B-B14F-4D97-AF65-F5344CB8AC3E}">
        <p14:creationId xmlns:p14="http://schemas.microsoft.com/office/powerpoint/2010/main" val="2836169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6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3"/>
          <a:stretch>
            <a:fillRect/>
          </a:stretch>
        </p:blipFill>
        <p:spPr>
          <a:xfrm>
            <a:off x="448526" y="6041180"/>
            <a:ext cx="1613705" cy="346697"/>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2"/>
          <p:cNvSpPr txBox="1">
            <a:spLocks/>
          </p:cNvSpPr>
          <p:nvPr userDrawn="1"/>
        </p:nvSpPr>
        <p:spPr bwMode="auto">
          <a:xfrm>
            <a:off x="358944" y="201451"/>
            <a:ext cx="2958170" cy="537925"/>
          </a:xfrm>
          <a:prstGeom prst="rect">
            <a:avLst/>
          </a:prstGeom>
        </p:spPr>
        <p:txBody>
          <a:bodyPr vert="horz" wrap="square" lIns="143391" tIns="107543" rIns="143391" bIns="107543"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a:solidFill>
                  <a:schemeClr val="tx1">
                    <a:lumMod val="75000"/>
                  </a:schemeClr>
                </a:solidFill>
                <a:latin typeface="Segoe UI" panose="020B0502040204020203" pitchFamily="34" charset="0"/>
              </a:rPr>
              <a:t>Microsoft Services</a:t>
            </a:r>
          </a:p>
        </p:txBody>
      </p:sp>
    </p:spTree>
    <p:extLst>
      <p:ext uri="{BB962C8B-B14F-4D97-AF65-F5344CB8AC3E}">
        <p14:creationId xmlns:p14="http://schemas.microsoft.com/office/powerpoint/2010/main" val="4082228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8"/>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panose="020B0502040204020203" pitchFamily="34" charset="0"/>
              </a:defRPr>
            </a:lvl1pPr>
          </a:lstStyle>
          <a:p>
            <a:pPr lvl="0"/>
            <a:r>
              <a:rPr lang="en-US"/>
              <a:t>Speaker Name</a:t>
            </a:r>
          </a:p>
        </p:txBody>
      </p:sp>
    </p:spTree>
    <p:extLst>
      <p:ext uri="{BB962C8B-B14F-4D97-AF65-F5344CB8AC3E}">
        <p14:creationId xmlns:p14="http://schemas.microsoft.com/office/powerpoint/2010/main" val="42871693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8"/>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Segoe UI" panose="020B0502040204020203" pitchFamily="34" charset="0"/>
                <a:ea typeface="+mn-ea"/>
                <a:cs typeface="Segoe UI" pitchFamily="34" charset="0"/>
              </a:defRPr>
            </a:lvl1pPr>
          </a:lstStyle>
          <a:p>
            <a:r>
              <a:rPr lang="en-US"/>
              <a:t>Video title</a:t>
            </a:r>
          </a:p>
        </p:txBody>
      </p:sp>
    </p:spTree>
    <p:extLst>
      <p:ext uri="{BB962C8B-B14F-4D97-AF65-F5344CB8AC3E}">
        <p14:creationId xmlns:p14="http://schemas.microsoft.com/office/powerpoint/2010/main" val="39839234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98021000"/>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95625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solidFill>
                  <a:srgbClr val="008272"/>
                </a:solidFill>
              </a:defRPr>
            </a:lvl1pPr>
          </a:lstStyle>
          <a:p>
            <a:r>
              <a:rPr lang="en-US"/>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Segoe UI" panose="020B0502040204020203" pitchFamily="34" charset="0"/>
              </a:defRPr>
            </a:lvl1pPr>
          </a:lstStyle>
          <a:p>
            <a:r>
              <a:rPr lang="en-US"/>
              <a:t>Click icon to add picture</a:t>
            </a:r>
          </a:p>
        </p:txBody>
      </p:sp>
    </p:spTree>
    <p:extLst>
      <p:ext uri="{BB962C8B-B14F-4D97-AF65-F5344CB8AC3E}">
        <p14:creationId xmlns:p14="http://schemas.microsoft.com/office/powerpoint/2010/main" val="256025489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13351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Square Right Photo Layout">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70289" y="552001"/>
            <a:ext cx="4795873" cy="1484704"/>
          </a:xfrm>
        </p:spPr>
        <p:txBody>
          <a:bodyPr wrap="square" anchor="ctr">
            <a:spAutoFit/>
          </a:bodyPr>
          <a:lstStyle>
            <a:lvl1pPr>
              <a:defRPr sz="4704" baseline="0">
                <a:solidFill>
                  <a:schemeClr val="bg1"/>
                </a:solidFill>
              </a:defRPr>
            </a:lvl1pPr>
          </a:lstStyle>
          <a:p>
            <a:r>
              <a:rPr lang="en-US"/>
              <a:t>Square photo layout</a:t>
            </a:r>
          </a:p>
        </p:txBody>
      </p:sp>
      <p:pic>
        <p:nvPicPr>
          <p:cNvPr id="3" name="Picture 2">
            <a:extLst>
              <a:ext uri="{FF2B5EF4-FFF2-40B4-BE49-F238E27FC236}">
                <a16:creationId xmlns:a16="http://schemas.microsoft.com/office/drawing/2014/main" id="{7FFCA2A4-47A7-435F-926A-3D3F1B650712}"/>
              </a:ext>
            </a:extLst>
          </p:cNvPr>
          <p:cNvPicPr>
            <a:picLocks noChangeAspect="1"/>
          </p:cNvPicPr>
          <p:nvPr userDrawn="1"/>
        </p:nvPicPr>
        <p:blipFill>
          <a:blip r:embed="rId2"/>
          <a:stretch>
            <a:fillRect/>
          </a:stretch>
        </p:blipFill>
        <p:spPr>
          <a:xfrm>
            <a:off x="2" y="0"/>
            <a:ext cx="6857027" cy="6858000"/>
          </a:xfrm>
          <a:prstGeom prst="rect">
            <a:avLst/>
          </a:prstGeom>
        </p:spPr>
      </p:pic>
    </p:spTree>
    <p:extLst>
      <p:ext uri="{BB962C8B-B14F-4D97-AF65-F5344CB8AC3E}">
        <p14:creationId xmlns:p14="http://schemas.microsoft.com/office/powerpoint/2010/main" val="2126256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554319"/>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827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9533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828" fontAlgn="base">
              <a:spcBef>
                <a:spcPct val="0"/>
              </a:spcBef>
              <a:spcAft>
                <a:spcPct val="0"/>
              </a:spcAft>
            </a:pPr>
            <a:endParaRPr lang="en-US" sz="1764">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5" name="Text Placeholder 4"/>
          <p:cNvSpPr>
            <a:spLocks noGrp="1"/>
          </p:cNvSpPr>
          <p:nvPr>
            <p:ph type="body" sz="quarter" idx="10"/>
          </p:nvPr>
        </p:nvSpPr>
        <p:spPr>
          <a:xfrm>
            <a:off x="269240" y="1197322"/>
            <a:ext cx="11653522" cy="2225866"/>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2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27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98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0010496"/>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827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238" tIns="179238" rIns="179238" bIns="179238" numCol="1" anchor="t" anchorCtr="0" compatLnSpc="1">
            <a:prstTxWarp prst="textNoShape">
              <a:avLst/>
            </a:prstTxWarp>
            <a:spAutoFit/>
          </a:bodyPr>
          <a:lstStyle/>
          <a:p>
            <a:pPr defTabSz="913650" eaLnBrk="0" hangingPunct="0"/>
            <a:r>
              <a:rPr lang="en-US" sz="686">
                <a:solidFill>
                  <a:schemeClr val="bg1"/>
                </a:solidFill>
                <a:latin typeface="Segoe UI" panose="020B0502040204020203" pitchFamily="34" charset="0"/>
                <a:cs typeface="Segoe UI" pitchFamily="34" charset="0"/>
              </a:rPr>
              <a:t>© Copyright Microsoft Corporation. All rights reserved. </a:t>
            </a:r>
          </a:p>
        </p:txBody>
      </p:sp>
    </p:spTree>
    <p:extLst>
      <p:ext uri="{BB962C8B-B14F-4D97-AF65-F5344CB8AC3E}">
        <p14:creationId xmlns:p14="http://schemas.microsoft.com/office/powerpoint/2010/main" val="3556375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396047"/>
          </a:xfrm>
          <a:prstGeom prst="rect">
            <a:avLst/>
          </a:prstGeom>
        </p:spPr>
        <p:txBody>
          <a:bodyPr/>
          <a:lstStyle>
            <a:lvl1pPr marL="284705" indent="-28470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0576378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6CAB0-3422-4FC0-BDB6-1D282890E20A}"/>
              </a:ext>
            </a:extLst>
          </p:cNvPr>
          <p:cNvSpPr>
            <a:spLocks noGrp="1"/>
          </p:cNvSpPr>
          <p:nvPr>
            <p:ph type="ctrTitle"/>
          </p:nvPr>
        </p:nvSpPr>
        <p:spPr>
          <a:xfrm>
            <a:off x="1524001"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9A6017E1-BC0F-403F-9E7B-15068D7527EF}"/>
              </a:ext>
            </a:extLst>
          </p:cNvPr>
          <p:cNvSpPr>
            <a:spLocks noGrp="1"/>
          </p:cNvSpPr>
          <p:nvPr>
            <p:ph type="subTitle" idx="1"/>
          </p:nvPr>
        </p:nvSpPr>
        <p:spPr>
          <a:xfrm>
            <a:off x="1524001" y="3602038"/>
            <a:ext cx="9144000" cy="516936"/>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BD7730-BB2A-457A-8829-467FA46D9B8C}"/>
              </a:ext>
            </a:extLst>
          </p:cNvPr>
          <p:cNvSpPr>
            <a:spLocks noGrp="1"/>
          </p:cNvSpPr>
          <p:nvPr>
            <p:ph type="dt" sz="half" idx="10"/>
          </p:nvPr>
        </p:nvSpPr>
        <p:spPr/>
        <p:txBody>
          <a:bodyPr/>
          <a:lstStyle>
            <a:lvl1pPr>
              <a:defRPr>
                <a:latin typeface="Segoe UI" panose="020B0502040204020203" pitchFamily="34" charset="0"/>
              </a:defRPr>
            </a:lvl1pPr>
          </a:lstStyle>
          <a:p>
            <a:fld id="{C4DED5F9-56B2-4A48-B2B7-90C4B88360C8}" type="datetimeFigureOut">
              <a:rPr lang="en-US" smtClean="0"/>
              <a:pPr/>
              <a:t>3/29/2021</a:t>
            </a:fld>
            <a:endParaRPr lang="en-US"/>
          </a:p>
        </p:txBody>
      </p:sp>
      <p:sp>
        <p:nvSpPr>
          <p:cNvPr id="5" name="Footer Placeholder 4">
            <a:extLst>
              <a:ext uri="{FF2B5EF4-FFF2-40B4-BE49-F238E27FC236}">
                <a16:creationId xmlns:a16="http://schemas.microsoft.com/office/drawing/2014/main" id="{387877F3-FC0F-4667-AF43-BFD0915D830B}"/>
              </a:ext>
            </a:extLst>
          </p:cNvPr>
          <p:cNvSpPr>
            <a:spLocks noGrp="1"/>
          </p:cNvSpPr>
          <p:nvPr>
            <p:ph type="ftr" sz="quarter" idx="11"/>
          </p:nvPr>
        </p:nvSpPr>
        <p:spPr/>
        <p:txBody>
          <a:bodyPr/>
          <a:lstStyle>
            <a:lvl1pPr>
              <a:defRPr>
                <a:latin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3E090D61-9BC1-44B8-AA82-5367AC5F8F90}"/>
              </a:ext>
            </a:extLst>
          </p:cNvPr>
          <p:cNvSpPr>
            <a:spLocks noGrp="1"/>
          </p:cNvSpPr>
          <p:nvPr>
            <p:ph type="sldNum" sz="quarter" idx="12"/>
          </p:nvPr>
        </p:nvSpPr>
        <p:spPr/>
        <p:txBody>
          <a:bodyPr/>
          <a:lstStyle>
            <a:lvl1pPr>
              <a:defRPr>
                <a:latin typeface="Segoe UI" panose="020B0502040204020203" pitchFamily="34" charset="0"/>
              </a:defRPr>
            </a:lvl1pPr>
          </a:lstStyle>
          <a:p>
            <a:fld id="{8D79F186-46CD-496E-AFA0-4B0705A2A114}" type="slidenum">
              <a:rPr lang="en-US" smtClean="0"/>
              <a:pPr/>
              <a:t>‹#›</a:t>
            </a:fld>
            <a:endParaRPr lang="en-US"/>
          </a:p>
        </p:txBody>
      </p:sp>
    </p:spTree>
    <p:extLst>
      <p:ext uri="{BB962C8B-B14F-4D97-AF65-F5344CB8AC3E}">
        <p14:creationId xmlns:p14="http://schemas.microsoft.com/office/powerpoint/2010/main" val="3475264106"/>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1394297"/>
            <a:ext cx="4167887" cy="2139240"/>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3"/>
            <a:ext cx="4164583" cy="276999"/>
          </a:xfrm>
          <a:noFill/>
        </p:spPr>
        <p:txBody>
          <a:bodyPr wrap="square" lIns="0" tIns="0" rIns="0" bIns="0">
            <a:spAutoFit/>
          </a:bodyPr>
          <a:lstStyle>
            <a:lvl1pPr marL="0" indent="0">
              <a:spcBef>
                <a:spcPts val="0"/>
              </a:spcBef>
              <a:buNone/>
              <a:defRPr sz="1999" spc="0" baseline="0">
                <a:gradFill>
                  <a:gsLst>
                    <a:gs pos="91000">
                      <a:schemeClr val="tx1"/>
                    </a:gs>
                    <a:gs pos="0">
                      <a:schemeClr val="tx1"/>
                    </a:gs>
                  </a:gsLst>
                  <a:lin ang="5400000" scaled="0"/>
                </a:gradFill>
                <a:latin typeface="Segoe UI" panose="020B0502040204020203" pitchFamily="34" charset="0"/>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975235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1" y="0"/>
            <a:ext cx="12192000" cy="1219200"/>
          </a:xfrm>
          <a:prstGeom prst="rect">
            <a:avLst/>
          </a:prstGeom>
          <a:solidFill>
            <a:srgbClr val="0A5BBA">
              <a:alpha val="89804"/>
            </a:srgbClr>
          </a:solidFill>
        </p:spPr>
        <p:txBody>
          <a:bodyPr lIns="182880" tIns="91440" rIns="91440" bIns="91440" anchor="ctr">
            <a:normAutofit/>
          </a:bodyPr>
          <a:lstStyle>
            <a:lvl1pPr>
              <a:defRPr sz="3199"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3"/>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609600" y="1219200"/>
            <a:ext cx="10972801" cy="4876800"/>
          </a:xfrm>
          <a:noFill/>
        </p:spPr>
        <p:txBody>
          <a:bodyPr lIns="182880" tIns="91440" rIns="91440" bIns="91440">
            <a:normAutofit/>
          </a:bodyPr>
          <a:lstStyle>
            <a:lvl1pPr marL="304701" indent="-304701">
              <a:lnSpc>
                <a:spcPct val="100000"/>
              </a:lnSpc>
              <a:buFont typeface="Arial" pitchFamily="34" charset="0"/>
              <a:buChar char="•"/>
              <a:defRPr/>
            </a:lvl1pPr>
            <a:lvl2pPr marL="609402" indent="-300469">
              <a:lnSpc>
                <a:spcPct val="100000"/>
              </a:lnSpc>
              <a:buFont typeface="Arial" pitchFamily="34" charset="0"/>
              <a:buChar char="•"/>
              <a:defRPr/>
            </a:lvl2pPr>
            <a:lvl3pPr marL="914103" indent="-304701">
              <a:lnSpc>
                <a:spcPct val="100000"/>
              </a:lnSpc>
              <a:buFont typeface="Arial" pitchFamily="34" charset="0"/>
              <a:buChar char="•"/>
              <a:defRPr/>
            </a:lvl3pPr>
            <a:lvl4pPr marL="1218804" indent="-304701">
              <a:lnSpc>
                <a:spcPct val="100000"/>
              </a:lnSpc>
              <a:buFont typeface="Arial" pitchFamily="34" charset="0"/>
              <a:buChar char="•"/>
              <a:defRPr/>
            </a:lvl4pPr>
            <a:lvl5pPr marL="1523505" indent="-304701">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1041880486"/>
      </p:ext>
    </p:extLst>
  </p:cSld>
  <p:clrMapOvr>
    <a:masterClrMapping/>
  </p:clrMapOvr>
  <p:transition>
    <p:fade/>
  </p:transition>
  <p:hf hdr="0" ftr="0" dt="0"/>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761569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29625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004B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24194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cSld name="Title Only - blu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99">
                <a:solidFill>
                  <a:schemeClr val="tx2"/>
                </a:solidFill>
              </a:defRPr>
            </a:lvl1pPr>
          </a:lstStyle>
          <a:p>
            <a:r>
              <a:rPr lang="en-US"/>
              <a:t>Click to edit Master title style</a:t>
            </a:r>
          </a:p>
        </p:txBody>
      </p:sp>
    </p:spTree>
    <p:extLst>
      <p:ext uri="{BB962C8B-B14F-4D97-AF65-F5344CB8AC3E}">
        <p14:creationId xmlns:p14="http://schemas.microsoft.com/office/powerpoint/2010/main" val="2095223938"/>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7"/>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2399"/>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0304527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
        <p:nvSpPr>
          <p:cNvPr id="9" name="Title 1"/>
          <p:cNvSpPr>
            <a:spLocks noGrp="1"/>
          </p:cNvSpPr>
          <p:nvPr>
            <p:ph type="title" hasCustomPrompt="1"/>
          </p:nvPr>
        </p:nvSpPr>
        <p:spPr>
          <a:xfrm>
            <a:off x="584201" y="2979778"/>
            <a:ext cx="9144000" cy="553998"/>
          </a:xfrm>
          <a:noFill/>
        </p:spPr>
        <p:txBody>
          <a:bodyPr lIns="0" tIns="0" rIns="0" bIns="0" anchor="b" anchorCtr="0">
            <a:spAutoFit/>
          </a:bodyPr>
          <a:lstStyle>
            <a:lvl1pPr>
              <a:defRPr sz="3599"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1" y="3962400"/>
            <a:ext cx="9144000" cy="338554"/>
          </a:xfrm>
          <a:noFill/>
        </p:spPr>
        <p:txBody>
          <a:bodyPr wrap="square" lIns="0" tIns="0" rIns="0" bIns="0">
            <a:spAutoFit/>
          </a:bodyPr>
          <a:lstStyle>
            <a:lvl1pPr marL="0" indent="0">
              <a:spcBef>
                <a:spcPts val="0"/>
              </a:spcBef>
              <a:buNone/>
              <a:defRPr sz="21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9" y="589607"/>
            <a:ext cx="3200400" cy="307648"/>
          </a:xfrm>
        </p:spPr>
        <p:txBody>
          <a:bodyPr lIns="0" tIns="0" rIns="0" bIns="0"/>
          <a:lstStyle>
            <a:lvl1pPr marL="0" indent="0" algn="r">
              <a:buNone/>
              <a:defRPr sz="1999">
                <a:latin typeface="+mn-lt"/>
              </a:defRPr>
            </a:lvl1pPr>
            <a:lvl2pPr marL="342797" indent="0">
              <a:buNone/>
              <a:defRPr sz="1999"/>
            </a:lvl2pPr>
            <a:lvl3pPr marL="571329" indent="0">
              <a:buNone/>
              <a:defRPr sz="1999"/>
            </a:lvl3pPr>
            <a:lvl4pPr marL="799860" indent="0">
              <a:buNone/>
              <a:defRPr sz="1999"/>
            </a:lvl4pPr>
            <a:lvl5pPr marL="1028391" indent="0">
              <a:buNone/>
              <a:defRPr sz="1999"/>
            </a:lvl5pPr>
          </a:lstStyle>
          <a:p>
            <a:pPr lvl="0"/>
            <a:r>
              <a:rPr lang="en-US"/>
              <a:t>Session code</a:t>
            </a:r>
          </a:p>
        </p:txBody>
      </p:sp>
    </p:spTree>
    <p:extLst>
      <p:ext uri="{BB962C8B-B14F-4D97-AF65-F5344CB8AC3E}">
        <p14:creationId xmlns:p14="http://schemas.microsoft.com/office/powerpoint/2010/main" val="41553116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078004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612493"/>
          </a:xfrm>
        </p:spPr>
        <p:txBody>
          <a:bodyPr wrap="square">
            <a:spAutoFit/>
          </a:bodyPr>
          <a:lstStyle>
            <a:lvl1pPr marL="0" indent="0">
              <a:buNone/>
              <a:defRPr/>
            </a:lvl1pPr>
            <a:lvl2pPr marL="228531" indent="0">
              <a:buNone/>
              <a:defRPr/>
            </a:lvl2pPr>
            <a:lvl3pPr marL="457063" indent="0">
              <a:buNone/>
              <a:defRPr/>
            </a:lvl3pPr>
            <a:lvl4pPr marL="685594" indent="0">
              <a:buNone/>
              <a:defRPr/>
            </a:lvl4pPr>
            <a:lvl5pPr marL="91412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868602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1"/>
            <a:ext cx="5211763"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553501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3881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221950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1999"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606548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8300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461"/>
            <a:ext cx="4158362" cy="1107739"/>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5" cy="338426"/>
          </a:xfrm>
        </p:spPr>
        <p:txBody>
          <a:bodyPr/>
          <a:lstStyle>
            <a:lvl1pPr marL="0" indent="0">
              <a:buNone/>
              <a:defRPr sz="2199">
                <a:latin typeface="+mn-lt"/>
              </a:defRPr>
            </a:lvl1pPr>
            <a:lvl2pPr marL="228531" indent="0">
              <a:buNone/>
              <a:defRPr/>
            </a:lvl2pPr>
            <a:lvl3pPr marL="457063" indent="0">
              <a:buNone/>
              <a:defRPr/>
            </a:lvl3pPr>
            <a:lvl4pPr marL="661789" indent="0">
              <a:buNone/>
              <a:defRPr/>
            </a:lvl4pPr>
            <a:lvl5pPr marL="855406"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362701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4" y="2873545"/>
            <a:ext cx="4159950" cy="110773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4057288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518"/>
          </a:xfrm>
        </p:spPr>
        <p:txBody>
          <a:bodyPr anchor="t"/>
          <a:lstStyle>
            <a:lvl1pPr>
              <a:defRPr sz="2799"/>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9"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0072411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4" y="5436192"/>
            <a:ext cx="11018520" cy="553870"/>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8135630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4" y="866351"/>
            <a:ext cx="11018520" cy="553870"/>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0"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873177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4" y="457200"/>
            <a:ext cx="11018520" cy="55387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648"/>
          </a:xfrm>
        </p:spPr>
        <p:txBody>
          <a:bodyPr/>
          <a:lstStyle>
            <a:lvl1pPr marL="0" indent="0" algn="ctr">
              <a:spcBef>
                <a:spcPts val="0"/>
              </a:spcBef>
              <a:buNone/>
              <a:defRPr sz="1999"/>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648"/>
          </a:xfrm>
        </p:spPr>
        <p:txBody>
          <a:bodyPr/>
          <a:lstStyle>
            <a:lvl1pPr marL="0" indent="0" algn="ctr">
              <a:spcBef>
                <a:spcPts val="0"/>
              </a:spcBef>
              <a:buNone/>
              <a:defRPr sz="1999"/>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3717998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4" y="457200"/>
            <a:ext cx="11018520" cy="55387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648"/>
          </a:xfrm>
        </p:spPr>
        <p:txBody>
          <a:bodyPr/>
          <a:lstStyle>
            <a:lvl1pPr marL="0" indent="0" algn="ctr">
              <a:spcBef>
                <a:spcPts val="0"/>
              </a:spcBef>
              <a:buNone/>
              <a:defRPr sz="1999"/>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648"/>
          </a:xfrm>
        </p:spPr>
        <p:txBody>
          <a:bodyPr/>
          <a:lstStyle>
            <a:lvl1pPr marL="0" indent="0" algn="ctr">
              <a:spcBef>
                <a:spcPts val="0"/>
              </a:spcBef>
              <a:buNone/>
              <a:defRPr sz="1999"/>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1"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648"/>
          </a:xfrm>
        </p:spPr>
        <p:txBody>
          <a:bodyPr/>
          <a:lstStyle>
            <a:lvl1pPr marL="0" indent="0" algn="ctr">
              <a:spcBef>
                <a:spcPts val="0"/>
              </a:spcBef>
              <a:buNone/>
              <a:defRPr sz="1999"/>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1585217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87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9"/>
            <a:ext cx="2532888" cy="615297"/>
          </a:xfrm>
        </p:spPr>
        <p:txBody>
          <a:bodyPr/>
          <a:lstStyle>
            <a:lvl1pPr marL="0" indent="0" algn="ctr">
              <a:spcBef>
                <a:spcPts val="0"/>
              </a:spcBef>
              <a:buNone/>
              <a:defRPr sz="1999"/>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5348324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307648"/>
          </a:xfrm>
        </p:spPr>
        <p:txBody>
          <a:bodyPr/>
          <a:lstStyle>
            <a:lvl1pPr marL="0" indent="0">
              <a:buFontTx/>
              <a:buNone/>
              <a:defRPr sz="1999"/>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44146138"/>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1" y="2305842"/>
            <a:ext cx="3468956" cy="1107739"/>
          </a:xfrm>
        </p:spPr>
        <p:txBody>
          <a:bodyPr/>
          <a:lstStyle>
            <a:lvl1pPr>
              <a:defRPr sz="3599">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204"/>
          </a:xfrm>
        </p:spPr>
        <p:txBody>
          <a:bodyPr/>
          <a:lstStyle>
            <a:lvl1pPr marL="0" indent="0">
              <a:spcAft>
                <a:spcPts val="1200"/>
              </a:spcAft>
              <a:buNone/>
              <a:defRPr sz="2399"/>
            </a:lvl1pPr>
            <a:lvl2pPr marL="228531"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1"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1"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50925657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461274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l" defTabSz="932192"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78"/>
            <a:ext cx="3183637" cy="55387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2034"/>
            <a:ext cx="6669658" cy="430759"/>
          </a:xfrm>
        </p:spPr>
        <p:txBody>
          <a:bodyPr anchor="ctr" anchorCtr="0"/>
          <a:lstStyle>
            <a:lvl1pPr marL="0" indent="0">
              <a:spcAft>
                <a:spcPts val="1200"/>
              </a:spcAft>
              <a:buNone/>
              <a:defRPr sz="2799"/>
            </a:lvl1pPr>
            <a:lvl2pPr marL="228531"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2261877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l" defTabSz="932192"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78"/>
            <a:ext cx="3183637" cy="55387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2034"/>
            <a:ext cx="6669658" cy="430759"/>
          </a:xfrm>
        </p:spPr>
        <p:txBody>
          <a:bodyPr anchor="ctr" anchorCtr="0"/>
          <a:lstStyle>
            <a:lvl1pPr marL="0" indent="0">
              <a:spcAft>
                <a:spcPts val="1200"/>
              </a:spcAft>
              <a:buNone/>
              <a:defRPr sz="2799"/>
            </a:lvl1pPr>
            <a:lvl2pPr marL="228531"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705140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3150478"/>
            <a:ext cx="3182027" cy="55387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2035"/>
            <a:ext cx="6667500" cy="43075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603841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199"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5412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199"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627646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206094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03623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273683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969400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4" y="1436690"/>
            <a:ext cx="11018520" cy="1908215"/>
          </a:xfrm>
        </p:spPr>
        <p:txBody>
          <a:bodyPr/>
          <a:lstStyle>
            <a:lvl1pPr marL="0" indent="0">
              <a:buNone/>
              <a:defRPr sz="2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13892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306319056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1"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01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8736868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90"/>
            <a:ext cx="11018838" cy="2215991"/>
          </a:xfrm>
        </p:spPr>
        <p:txBody>
          <a:bodyPr>
            <a:spAutoFit/>
          </a:bodyPr>
          <a:lstStyle>
            <a:lvl1pPr>
              <a:defRPr sz="3599">
                <a:latin typeface="+mn-lt"/>
              </a:defRPr>
            </a:lvl1pPr>
            <a:lvl2pPr>
              <a:defRPr sz="2799">
                <a:latin typeface="+mn-lt"/>
              </a:defRPr>
            </a:lvl2pPr>
            <a:lvl3pPr>
              <a:defRPr sz="2399">
                <a:latin typeface="+mn-lt"/>
              </a:defRPr>
            </a:lvl3pPr>
            <a:lvl4pPr>
              <a:defRPr sz="1999">
                <a:latin typeface="+mn-lt"/>
              </a:defRPr>
            </a:lvl4pPr>
            <a:lvl5pPr>
              <a:defRPr sz="1799">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666465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403157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32" tIns="146266" rIns="182832" bIns="146266" rtlCol="0" anchor="ctr">
            <a:spAutoFit/>
          </a:bodyPr>
          <a:lstStyle/>
          <a:p>
            <a:pPr algn="ctr">
              <a:lnSpc>
                <a:spcPct val="90000"/>
              </a:lnSpc>
              <a:spcBef>
                <a:spcPts val="1200"/>
              </a:spcBef>
              <a:spcAft>
                <a:spcPts val="600"/>
              </a:spcAft>
            </a:pPr>
            <a:r>
              <a:rPr lang="en-US" sz="1999">
                <a:gradFill>
                  <a:gsLst>
                    <a:gs pos="2917">
                      <a:schemeClr val="tx1"/>
                    </a:gs>
                    <a:gs pos="30000">
                      <a:schemeClr val="tx1"/>
                    </a:gs>
                  </a:gsLst>
                  <a:lin ang="5400000" scaled="0"/>
                </a:gradFill>
              </a:rPr>
              <a:t>Microsoft Ready content is </a:t>
            </a:r>
            <a:r>
              <a:rPr lang="en-US" sz="1999"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1999"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999">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1999"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999">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1999">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3"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1" rIns="0" bIns="46611" numCol="1" rtlCol="0" anchor="ctr" anchorCtr="0" compatLnSpc="1">
            <a:prstTxWarp prst="textNoShape">
              <a:avLst/>
            </a:prstTxWarp>
          </a:bodyPr>
          <a:lstStyle/>
          <a:p>
            <a:pPr marL="0" marR="0" lvl="0" indent="0" algn="ctr" defTabSz="931834"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1" rIns="0" bIns="46611" numCol="1" rtlCol="0" anchor="ctr" anchorCtr="0" compatLnSpc="1">
            <a:prstTxWarp prst="textNoShape">
              <a:avLst/>
            </a:prstTxWarp>
          </a:bodyPr>
          <a:lstStyle/>
          <a:p>
            <a:pPr marR="0" lvl="0" indent="0" algn="ctr" defTabSz="931834" fontAlgn="base">
              <a:lnSpc>
                <a:spcPct val="100000"/>
              </a:lnSpc>
              <a:spcBef>
                <a:spcPct val="0"/>
              </a:spcBef>
              <a:spcAft>
                <a:spcPct val="0"/>
              </a:spcAft>
              <a:buClrTx/>
              <a:buSzTx/>
              <a:buFontTx/>
              <a:buNone/>
              <a:tabLst/>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1" rIns="0" bIns="46611" numCol="1" rtlCol="0" anchor="ctr" anchorCtr="0" compatLnSpc="1">
            <a:prstTxWarp prst="textNoShape">
              <a:avLst/>
            </a:prstTxWarp>
          </a:bodyPr>
          <a:lstStyle/>
          <a:p>
            <a:pPr marR="0" lvl="0" indent="0" algn="ctr" defTabSz="931834" fontAlgn="base">
              <a:lnSpc>
                <a:spcPct val="100000"/>
              </a:lnSpc>
              <a:spcBef>
                <a:spcPct val="0"/>
              </a:spcBef>
              <a:spcAft>
                <a:spcPct val="0"/>
              </a:spcAft>
              <a:buClrTx/>
              <a:buSzTx/>
              <a:buFontTx/>
              <a:buNone/>
              <a:tabLst/>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7"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399"/>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2399"/>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2399"/>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126" fontAlgn="auto">
                <a:lnSpc>
                  <a:spcPct val="100000"/>
                </a:lnSpc>
                <a:spcBef>
                  <a:spcPts val="0"/>
                </a:spcBef>
                <a:spcAft>
                  <a:spcPts val="0"/>
                </a:spcAft>
                <a:buClrTx/>
                <a:buSzTx/>
                <a:buFontTx/>
                <a:buNone/>
                <a:tabLst/>
              </a:pPr>
              <a:endParaRPr kumimoji="0" lang="en-US" sz="1799"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8"/>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7521361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073733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80"/>
            <a:ext cx="11653523" cy="161249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35674" y="6571862"/>
            <a:ext cx="3320653"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076">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47311840"/>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CAEC6540-64C7-9747-877E-6D8504F5DE51}"/>
              </a:ext>
            </a:extLst>
          </p:cNvPr>
          <p:cNvSpPr>
            <a:spLocks noGrp="1"/>
          </p:cNvSpPr>
          <p:nvPr>
            <p:ph type="title"/>
          </p:nvPr>
        </p:nvSpPr>
        <p:spPr>
          <a:xfrm>
            <a:off x="355602" y="96296"/>
            <a:ext cx="11403631" cy="777240"/>
          </a:xfrm>
          <a:prstGeom prst="rect">
            <a:avLst/>
          </a:prstGeom>
        </p:spPr>
        <p:txBody>
          <a:bodyPr vert="horz" lIns="121888" tIns="60944" rIns="121888" bIns="60944" rtlCol="0" anchor="t" anchorCtr="0">
            <a:noAutofit/>
          </a:bodyPr>
          <a:lstStyle>
            <a:lvl1pPr>
              <a:defRPr sz="4400"/>
            </a:lvl1pPr>
          </a:lstStyle>
          <a:p>
            <a:r>
              <a:rPr lang="en-US"/>
              <a:t>Click to edit Master title</a:t>
            </a:r>
          </a:p>
        </p:txBody>
      </p:sp>
      <p:sp>
        <p:nvSpPr>
          <p:cNvPr id="13" name="Content Placeholder 12">
            <a:extLst>
              <a:ext uri="{FF2B5EF4-FFF2-40B4-BE49-F238E27FC236}">
                <a16:creationId xmlns:a16="http://schemas.microsoft.com/office/drawing/2014/main" id="{986DAD2F-D448-354C-9ACF-03ED78E9AF94}"/>
              </a:ext>
            </a:extLst>
          </p:cNvPr>
          <p:cNvSpPr>
            <a:spLocks noGrp="1"/>
          </p:cNvSpPr>
          <p:nvPr>
            <p:ph sz="quarter" idx="13"/>
          </p:nvPr>
        </p:nvSpPr>
        <p:spPr>
          <a:xfrm>
            <a:off x="354870" y="923074"/>
            <a:ext cx="11403630" cy="2191369"/>
          </a:xfrm>
          <a:prstGeom prst="rect">
            <a:avLst/>
          </a:prstGeom>
        </p:spPr>
        <p:txBody>
          <a:bodyPr/>
          <a:lstStyle>
            <a:lvl1pPr marL="274201" indent="-274201">
              <a:defRPr sz="3200"/>
            </a:lvl1pPr>
            <a:lvl2pPr marL="576072" indent="-274320">
              <a:defRPr sz="2800"/>
            </a:lvl2pPr>
            <a:lvl3pPr marL="868680" indent="-274320">
              <a:defRPr sz="2400"/>
            </a:lvl3pPr>
            <a:lvl4pPr marL="1143000" indent="-274320">
              <a:defRPr sz="2000"/>
            </a:lvl4pPr>
            <a:lvl5pPr marL="1435608" indent="-274320">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7674638"/>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gradFill>
                  <a:gsLst>
                    <a:gs pos="0">
                      <a:schemeClr val="tx1"/>
                    </a:gs>
                    <a:gs pos="100000">
                      <a:schemeClr val="tx1"/>
                    </a:gs>
                  </a:gsLst>
                  <a:lin ang="5400000" scaled="1"/>
                </a:gradFill>
              </a:defRPr>
            </a:lvl1pPr>
          </a:lstStyle>
          <a:p>
            <a:r>
              <a:rPr lang="en-US"/>
              <a:t>Title</a:t>
            </a:r>
          </a:p>
        </p:txBody>
      </p:sp>
    </p:spTree>
    <p:extLst>
      <p:ext uri="{BB962C8B-B14F-4D97-AF65-F5344CB8AC3E}">
        <p14:creationId xmlns:p14="http://schemas.microsoft.com/office/powerpoint/2010/main" val="4030414333"/>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5874751"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 title 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5874751"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25" name="Picture 24">
            <a:extLst>
              <a:ext uri="{FF2B5EF4-FFF2-40B4-BE49-F238E27FC236}">
                <a16:creationId xmlns:a16="http://schemas.microsoft.com/office/drawing/2014/main" id="{DD6F765C-BA87-4024-A0EA-D44C275128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28" name="Picture Placeholder 27">
            <a:extLst>
              <a:ext uri="{FF2B5EF4-FFF2-40B4-BE49-F238E27FC236}">
                <a16:creationId xmlns:a16="http://schemas.microsoft.com/office/drawing/2014/main" id="{F115ABEF-D43C-4943-82B6-BC159FC73908}"/>
              </a:ext>
            </a:extLst>
          </p:cNvPr>
          <p:cNvSpPr>
            <a:spLocks noGrp="1"/>
          </p:cNvSpPr>
          <p:nvPr>
            <p:ph type="pic" sz="quarter" idx="16"/>
          </p:nvPr>
        </p:nvSpPr>
        <p:spPr>
          <a:xfrm>
            <a:off x="6161365" y="793822"/>
            <a:ext cx="2096326" cy="1618774"/>
          </a:xfrm>
          <a:solidFill>
            <a:schemeClr val="tx2"/>
          </a:solidFill>
        </p:spPr>
        <p:txBody>
          <a:bodyPr anchor="b" anchorCtr="1">
            <a:noAutofit/>
          </a:bodyPr>
          <a:lstStyle/>
          <a:p>
            <a:endParaRPr lang="en-US"/>
          </a:p>
        </p:txBody>
      </p:sp>
      <p:sp>
        <p:nvSpPr>
          <p:cNvPr id="29" name="Picture Placeholder 27">
            <a:extLst>
              <a:ext uri="{FF2B5EF4-FFF2-40B4-BE49-F238E27FC236}">
                <a16:creationId xmlns:a16="http://schemas.microsoft.com/office/drawing/2014/main" id="{AA47FD53-1E53-4FDE-94A4-B6A5469787D2}"/>
              </a:ext>
            </a:extLst>
          </p:cNvPr>
          <p:cNvSpPr>
            <a:spLocks noGrp="1"/>
          </p:cNvSpPr>
          <p:nvPr>
            <p:ph type="pic" sz="quarter" idx="17"/>
          </p:nvPr>
        </p:nvSpPr>
        <p:spPr>
          <a:xfrm>
            <a:off x="8472758" y="793822"/>
            <a:ext cx="2096326" cy="1618774"/>
          </a:xfrm>
          <a:solidFill>
            <a:schemeClr val="tx2"/>
          </a:solidFill>
        </p:spPr>
        <p:txBody>
          <a:bodyPr anchor="b" anchorCtr="1">
            <a:noAutofit/>
          </a:bodyPr>
          <a:lstStyle/>
          <a:p>
            <a:endParaRPr lang="en-US"/>
          </a:p>
        </p:txBody>
      </p:sp>
      <p:sp>
        <p:nvSpPr>
          <p:cNvPr id="30" name="Picture Placeholder 27">
            <a:extLst>
              <a:ext uri="{FF2B5EF4-FFF2-40B4-BE49-F238E27FC236}">
                <a16:creationId xmlns:a16="http://schemas.microsoft.com/office/drawing/2014/main" id="{E251C08D-157D-49F9-81E7-B96806AE1099}"/>
              </a:ext>
            </a:extLst>
          </p:cNvPr>
          <p:cNvSpPr>
            <a:spLocks noGrp="1"/>
          </p:cNvSpPr>
          <p:nvPr>
            <p:ph type="pic" sz="quarter" idx="18"/>
          </p:nvPr>
        </p:nvSpPr>
        <p:spPr>
          <a:xfrm>
            <a:off x="7203560" y="4460417"/>
            <a:ext cx="2096326" cy="1618774"/>
          </a:xfrm>
          <a:solidFill>
            <a:schemeClr val="tx2"/>
          </a:solidFill>
        </p:spPr>
        <p:txBody>
          <a:bodyPr anchor="b" anchorCtr="1">
            <a:noAutofit/>
          </a:bodyPr>
          <a:lstStyle/>
          <a:p>
            <a:endParaRPr lang="en-US"/>
          </a:p>
        </p:txBody>
      </p:sp>
      <p:sp>
        <p:nvSpPr>
          <p:cNvPr id="31" name="Picture Placeholder 27">
            <a:extLst>
              <a:ext uri="{FF2B5EF4-FFF2-40B4-BE49-F238E27FC236}">
                <a16:creationId xmlns:a16="http://schemas.microsoft.com/office/drawing/2014/main" id="{72A7D44E-978B-43E5-9BC0-A9F9EE7738C9}"/>
              </a:ext>
            </a:extLst>
          </p:cNvPr>
          <p:cNvSpPr>
            <a:spLocks noGrp="1"/>
          </p:cNvSpPr>
          <p:nvPr>
            <p:ph type="pic" sz="quarter" idx="19"/>
          </p:nvPr>
        </p:nvSpPr>
        <p:spPr>
          <a:xfrm>
            <a:off x="9514953" y="4460417"/>
            <a:ext cx="2096326" cy="1618774"/>
          </a:xfrm>
          <a:solidFill>
            <a:schemeClr val="tx2"/>
          </a:solidFill>
        </p:spPr>
        <p:txBody>
          <a:bodyPr anchor="b" anchorCtr="1">
            <a:noAutofit/>
          </a:bodyPr>
          <a:lstStyle/>
          <a:p>
            <a:endParaRPr lang="en-US"/>
          </a:p>
        </p:txBody>
      </p:sp>
      <p:sp>
        <p:nvSpPr>
          <p:cNvPr id="32" name="Picture Placeholder 27">
            <a:extLst>
              <a:ext uri="{FF2B5EF4-FFF2-40B4-BE49-F238E27FC236}">
                <a16:creationId xmlns:a16="http://schemas.microsoft.com/office/drawing/2014/main" id="{FFC800EB-936E-4743-B0BB-27566A34C2D7}"/>
              </a:ext>
            </a:extLst>
          </p:cNvPr>
          <p:cNvSpPr>
            <a:spLocks noGrp="1"/>
          </p:cNvSpPr>
          <p:nvPr>
            <p:ph type="pic" sz="quarter" idx="20"/>
          </p:nvPr>
        </p:nvSpPr>
        <p:spPr>
          <a:xfrm>
            <a:off x="5776786" y="2611744"/>
            <a:ext cx="2096326" cy="1618774"/>
          </a:xfrm>
          <a:solidFill>
            <a:schemeClr val="tx2"/>
          </a:solidFill>
        </p:spPr>
        <p:txBody>
          <a:bodyPr anchor="b" anchorCtr="1">
            <a:noAutofit/>
          </a:bodyPr>
          <a:lstStyle/>
          <a:p>
            <a:endParaRPr lang="en-US"/>
          </a:p>
        </p:txBody>
      </p:sp>
      <p:sp>
        <p:nvSpPr>
          <p:cNvPr id="33" name="Picture Placeholder 27">
            <a:extLst>
              <a:ext uri="{FF2B5EF4-FFF2-40B4-BE49-F238E27FC236}">
                <a16:creationId xmlns:a16="http://schemas.microsoft.com/office/drawing/2014/main" id="{9F092611-3E78-46B1-BA8A-97F767E93167}"/>
              </a:ext>
            </a:extLst>
          </p:cNvPr>
          <p:cNvSpPr>
            <a:spLocks noGrp="1"/>
          </p:cNvSpPr>
          <p:nvPr>
            <p:ph type="pic" sz="quarter" idx="21"/>
          </p:nvPr>
        </p:nvSpPr>
        <p:spPr>
          <a:xfrm>
            <a:off x="8061123" y="2611744"/>
            <a:ext cx="2096326" cy="1618774"/>
          </a:xfrm>
          <a:solidFill>
            <a:schemeClr val="tx2"/>
          </a:solidFill>
        </p:spPr>
        <p:txBody>
          <a:bodyPr anchor="b" anchorCtr="1">
            <a:noAutofit/>
          </a:bodyPr>
          <a:lstStyle/>
          <a:p>
            <a:endParaRPr lang="en-US"/>
          </a:p>
        </p:txBody>
      </p:sp>
      <p:sp>
        <p:nvSpPr>
          <p:cNvPr id="34" name="Picture Placeholder 27">
            <a:extLst>
              <a:ext uri="{FF2B5EF4-FFF2-40B4-BE49-F238E27FC236}">
                <a16:creationId xmlns:a16="http://schemas.microsoft.com/office/drawing/2014/main" id="{CFCBDAA1-18C9-4D7C-B4F2-F169EEF5C655}"/>
              </a:ext>
            </a:extLst>
          </p:cNvPr>
          <p:cNvSpPr>
            <a:spLocks noGrp="1"/>
          </p:cNvSpPr>
          <p:nvPr>
            <p:ph type="pic" sz="quarter" idx="22"/>
          </p:nvPr>
        </p:nvSpPr>
        <p:spPr>
          <a:xfrm>
            <a:off x="10345460" y="2611744"/>
            <a:ext cx="2096326" cy="1618774"/>
          </a:xfrm>
          <a:solidFill>
            <a:schemeClr val="tx2"/>
          </a:solidFill>
        </p:spPr>
        <p:txBody>
          <a:bodyPr anchor="b" anchorCtr="1">
            <a:noAutofit/>
          </a:bodyPr>
          <a:lstStyle/>
          <a:p>
            <a:endParaRPr lang="en-US"/>
          </a:p>
        </p:txBody>
      </p:sp>
    </p:spTree>
    <p:extLst>
      <p:ext uri="{BB962C8B-B14F-4D97-AF65-F5344CB8AC3E}">
        <p14:creationId xmlns:p14="http://schemas.microsoft.com/office/powerpoint/2010/main" val="18666529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750"/>
                                        <p:tgtEl>
                                          <p:spTgt spid="28"/>
                                        </p:tgtEl>
                                      </p:cBhvr>
                                    </p:animEffect>
                                  </p:childTnLst>
                                </p:cTn>
                              </p:par>
                              <p:par>
                                <p:cTn id="8" presetID="42" presetClass="path" presetSubtype="0" decel="100000" fill="hold" grpId="1" nodeType="withEffect">
                                  <p:stCondLst>
                                    <p:cond delay="50"/>
                                  </p:stCondLst>
                                  <p:childTnLst>
                                    <p:animMotion origin="layout" path="M 1.17182E-6 -2.12892E-6 L 0.04353 -2.12892E-6 " pathEditMode="relative" rAng="0" ptsTypes="AA">
                                      <p:cBhvr>
                                        <p:cTn id="9" dur="750" spd="-100000" fill="hold"/>
                                        <p:tgtEl>
                                          <p:spTgt spid="28"/>
                                        </p:tgtEl>
                                        <p:attrNameLst>
                                          <p:attrName>ppt_x</p:attrName>
                                          <p:attrName>ppt_y</p:attrName>
                                        </p:attrNameLst>
                                      </p:cBhvr>
                                      <p:rCtr x="2170" y="0"/>
                                    </p:animMotion>
                                  </p:childTnLst>
                                </p:cTn>
                              </p:par>
                              <p:par>
                                <p:cTn id="10" presetID="10" presetClass="entr" presetSubtype="0" fill="hold" grpId="0" nodeType="withEffect">
                                  <p:stCondLst>
                                    <p:cond delay="15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750"/>
                                        <p:tgtEl>
                                          <p:spTgt spid="29"/>
                                        </p:tgtEl>
                                      </p:cBhvr>
                                    </p:animEffect>
                                  </p:childTnLst>
                                </p:cTn>
                              </p:par>
                              <p:par>
                                <p:cTn id="13" presetID="42" presetClass="path" presetSubtype="0" decel="100000" fill="hold" grpId="1" nodeType="withEffect">
                                  <p:stCondLst>
                                    <p:cond delay="150"/>
                                  </p:stCondLst>
                                  <p:childTnLst>
                                    <p:animMotion origin="layout" path="M 1.17182E-6 -2.12892E-6 L 0.04353 -2.12892E-6 " pathEditMode="relative" rAng="0" ptsTypes="AA">
                                      <p:cBhvr>
                                        <p:cTn id="14" dur="750" spd="-100000" fill="hold"/>
                                        <p:tgtEl>
                                          <p:spTgt spid="29"/>
                                        </p:tgtEl>
                                        <p:attrNameLst>
                                          <p:attrName>ppt_x</p:attrName>
                                          <p:attrName>ppt_y</p:attrName>
                                        </p:attrNameLst>
                                      </p:cBhvr>
                                      <p:rCtr x="2170" y="0"/>
                                    </p:animMotion>
                                  </p:childTnLst>
                                </p:cTn>
                              </p:par>
                              <p:par>
                                <p:cTn id="15" presetID="10"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750"/>
                                        <p:tgtEl>
                                          <p:spTgt spid="32"/>
                                        </p:tgtEl>
                                      </p:cBhvr>
                                    </p:animEffect>
                                  </p:childTnLst>
                                </p:cTn>
                              </p:par>
                              <p:par>
                                <p:cTn id="18" presetID="42" presetClass="path" presetSubtype="0" decel="100000" fill="hold" grpId="1" nodeType="withEffect">
                                  <p:stCondLst>
                                    <p:cond delay="0"/>
                                  </p:stCondLst>
                                  <p:childTnLst>
                                    <p:animMotion origin="layout" path="M 1.17182E-6 -2.12892E-6 L 0.04353 -2.12892E-6 " pathEditMode="relative" rAng="0" ptsTypes="AA">
                                      <p:cBhvr>
                                        <p:cTn id="19" dur="750" spd="-100000" fill="hold"/>
                                        <p:tgtEl>
                                          <p:spTgt spid="32"/>
                                        </p:tgtEl>
                                        <p:attrNameLst>
                                          <p:attrName>ppt_x</p:attrName>
                                          <p:attrName>ppt_y</p:attrName>
                                        </p:attrNameLst>
                                      </p:cBhvr>
                                      <p:rCtr x="2170" y="0"/>
                                    </p:animMotion>
                                  </p:childTnLst>
                                </p:cTn>
                              </p:par>
                              <p:par>
                                <p:cTn id="20" presetID="10" presetClass="entr" presetSubtype="0" fill="hold" grpId="0" nodeType="withEffect">
                                  <p:stCondLst>
                                    <p:cond delay="15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750"/>
                                        <p:tgtEl>
                                          <p:spTgt spid="33"/>
                                        </p:tgtEl>
                                      </p:cBhvr>
                                    </p:animEffect>
                                  </p:childTnLst>
                                </p:cTn>
                              </p:par>
                              <p:par>
                                <p:cTn id="23" presetID="42" presetClass="path" presetSubtype="0" decel="100000" fill="hold" grpId="1" nodeType="withEffect">
                                  <p:stCondLst>
                                    <p:cond delay="150"/>
                                  </p:stCondLst>
                                  <p:childTnLst>
                                    <p:animMotion origin="layout" path="M 1.17182E-6 -2.12892E-6 L 0.04353 -2.12892E-6 " pathEditMode="relative" rAng="0" ptsTypes="AA">
                                      <p:cBhvr>
                                        <p:cTn id="24" dur="750" spd="-100000" fill="hold"/>
                                        <p:tgtEl>
                                          <p:spTgt spid="33"/>
                                        </p:tgtEl>
                                        <p:attrNameLst>
                                          <p:attrName>ppt_x</p:attrName>
                                          <p:attrName>ppt_y</p:attrName>
                                        </p:attrNameLst>
                                      </p:cBhvr>
                                      <p:rCtr x="2170" y="0"/>
                                    </p:animMotion>
                                  </p:childTnLst>
                                </p:cTn>
                              </p:par>
                              <p:par>
                                <p:cTn id="25" presetID="10" presetClass="entr" presetSubtype="0" fill="hold" grpId="0" nodeType="withEffect">
                                  <p:stCondLst>
                                    <p:cond delay="25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750"/>
                                        <p:tgtEl>
                                          <p:spTgt spid="34"/>
                                        </p:tgtEl>
                                      </p:cBhvr>
                                    </p:animEffect>
                                  </p:childTnLst>
                                </p:cTn>
                              </p:par>
                              <p:par>
                                <p:cTn id="28" presetID="42" presetClass="path" presetSubtype="0" decel="100000" fill="hold" grpId="1" nodeType="withEffect">
                                  <p:stCondLst>
                                    <p:cond delay="250"/>
                                  </p:stCondLst>
                                  <p:childTnLst>
                                    <p:animMotion origin="layout" path="M 1.17182E-6 -2.12892E-6 L 0.04353 -2.12892E-6 " pathEditMode="relative" rAng="0" ptsTypes="AA">
                                      <p:cBhvr>
                                        <p:cTn id="29" dur="750" spd="-100000" fill="hold"/>
                                        <p:tgtEl>
                                          <p:spTgt spid="34"/>
                                        </p:tgtEl>
                                        <p:attrNameLst>
                                          <p:attrName>ppt_x</p:attrName>
                                          <p:attrName>ppt_y</p:attrName>
                                        </p:attrNameLst>
                                      </p:cBhvr>
                                      <p:rCtr x="2170" y="0"/>
                                    </p:animMotion>
                                  </p:childTnLst>
                                </p:cTn>
                              </p:par>
                              <p:par>
                                <p:cTn id="30" presetID="10" presetClass="entr" presetSubtype="0" fill="hold" grpId="0" nodeType="withEffect">
                                  <p:stCondLst>
                                    <p:cond delay="5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750"/>
                                        <p:tgtEl>
                                          <p:spTgt spid="30"/>
                                        </p:tgtEl>
                                      </p:cBhvr>
                                    </p:animEffect>
                                  </p:childTnLst>
                                </p:cTn>
                              </p:par>
                              <p:par>
                                <p:cTn id="33" presetID="42" presetClass="path" presetSubtype="0" decel="100000" fill="hold" grpId="1" nodeType="withEffect">
                                  <p:stCondLst>
                                    <p:cond delay="50"/>
                                  </p:stCondLst>
                                  <p:childTnLst>
                                    <p:animMotion origin="layout" path="M 1.17182E-6 -2.12892E-6 L 0.04353 -2.12892E-6 " pathEditMode="relative" rAng="0" ptsTypes="AA">
                                      <p:cBhvr>
                                        <p:cTn id="34" dur="750" spd="-100000" fill="hold"/>
                                        <p:tgtEl>
                                          <p:spTgt spid="30"/>
                                        </p:tgtEl>
                                        <p:attrNameLst>
                                          <p:attrName>ppt_x</p:attrName>
                                          <p:attrName>ppt_y</p:attrName>
                                        </p:attrNameLst>
                                      </p:cBhvr>
                                      <p:rCtr x="2170" y="0"/>
                                    </p:animMotion>
                                  </p:childTnLst>
                                </p:cTn>
                              </p:par>
                              <p:par>
                                <p:cTn id="35" presetID="10" presetClass="entr" presetSubtype="0" fill="hold" grpId="0" nodeType="withEffect">
                                  <p:stCondLst>
                                    <p:cond delay="15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750"/>
                                        <p:tgtEl>
                                          <p:spTgt spid="31"/>
                                        </p:tgtEl>
                                      </p:cBhvr>
                                    </p:animEffect>
                                  </p:childTnLst>
                                </p:cTn>
                              </p:par>
                              <p:par>
                                <p:cTn id="38" presetID="42" presetClass="path" presetSubtype="0" decel="100000" fill="hold" grpId="1" nodeType="withEffect">
                                  <p:stCondLst>
                                    <p:cond delay="150"/>
                                  </p:stCondLst>
                                  <p:childTnLst>
                                    <p:animMotion origin="layout" path="M 1.17182E-6 -2.12892E-6 L 0.04353 -2.12892E-6 " pathEditMode="relative" rAng="0" ptsTypes="AA">
                                      <p:cBhvr>
                                        <p:cTn id="39" dur="750" spd="-100000" fill="hold"/>
                                        <p:tgtEl>
                                          <p:spTgt spid="31"/>
                                        </p:tgtEl>
                                        <p:attrNameLst>
                                          <p:attrName>ppt_x</p:attrName>
                                          <p:attrName>ppt_y</p:attrName>
                                        </p:attrNameLst>
                                      </p:cBhvr>
                                      <p:rCtr x="21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2" name="Picture 1">
            <a:extLst>
              <a:ext uri="{FF2B5EF4-FFF2-40B4-BE49-F238E27FC236}">
                <a16:creationId xmlns:a16="http://schemas.microsoft.com/office/drawing/2014/main" id="{A1DB2018-D351-4E93-97E1-244D6E39497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12723041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305845230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150454155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05542" y="96568"/>
            <a:ext cx="5583404" cy="6409831"/>
          </a:xfrm>
          <a:prstGeom prst="rect">
            <a:avLst/>
          </a:prstGeom>
        </p:spPr>
      </p:pic>
    </p:spTree>
    <p:extLst>
      <p:ext uri="{BB962C8B-B14F-4D97-AF65-F5344CB8AC3E}">
        <p14:creationId xmlns:p14="http://schemas.microsoft.com/office/powerpoint/2010/main" val="4081088504"/>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
        <p:nvSpPr>
          <p:cNvPr id="2" name="TextBox 1">
            <a:extLst>
              <a:ext uri="{FF2B5EF4-FFF2-40B4-BE49-F238E27FC236}">
                <a16:creationId xmlns:a16="http://schemas.microsoft.com/office/drawing/2014/main" id="{202B95C2-531E-4F36-ABBC-DD67383CDAC9}"/>
              </a:ext>
            </a:extLst>
          </p:cNvPr>
          <p:cNvSpPr txBox="1"/>
          <p:nvPr userDrawn="1"/>
        </p:nvSpPr>
        <p:spPr>
          <a:xfrm>
            <a:off x="10553701" y="34930"/>
            <a:ext cx="1557337" cy="627864"/>
          </a:xfrm>
          <a:prstGeom prst="rect">
            <a:avLst/>
          </a:prstGeom>
          <a:solidFill>
            <a:schemeClr val="bg1"/>
          </a:solidFill>
        </p:spPr>
        <p:txBody>
          <a:bodyPr wrap="square" lIns="182880" tIns="146304" rIns="182880" bIns="14630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72203177"/>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1_Title Slide 6">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bg1"/>
                    </a:gs>
                    <a:gs pos="100000">
                      <a:schemeClr val="bg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bg1"/>
                    </a:gs>
                    <a:gs pos="100000">
                      <a:schemeClr val="bg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06666B8-50C7-4992-A344-31FE42F94A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9" name="Picture 8">
            <a:extLst>
              <a:ext uri="{FF2B5EF4-FFF2-40B4-BE49-F238E27FC236}">
                <a16:creationId xmlns:a16="http://schemas.microsoft.com/office/drawing/2014/main" id="{8CCD8A32-672C-450E-BF26-7AF0C2F883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2" name="TextBox 1">
            <a:extLst>
              <a:ext uri="{FF2B5EF4-FFF2-40B4-BE49-F238E27FC236}">
                <a16:creationId xmlns:a16="http://schemas.microsoft.com/office/drawing/2014/main" id="{D4DE672F-FA30-45B6-8B9F-8216211D17C7}"/>
              </a:ext>
            </a:extLst>
          </p:cNvPr>
          <p:cNvSpPr txBox="1"/>
          <p:nvPr userDrawn="1"/>
        </p:nvSpPr>
        <p:spPr>
          <a:xfrm>
            <a:off x="10553701" y="34930"/>
            <a:ext cx="1557337" cy="627864"/>
          </a:xfrm>
          <a:prstGeom prst="rect">
            <a:avLst/>
          </a:prstGeom>
          <a:solidFill>
            <a:schemeClr val="tx1"/>
          </a:solidFill>
        </p:spPr>
        <p:txBody>
          <a:bodyPr wrap="square" lIns="182880" tIns="146304" rIns="182880" bIns="14630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30977208"/>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963050400"/>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448885928"/>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gradFill>
                  <a:gsLst>
                    <a:gs pos="0">
                      <a:schemeClr val="tx1"/>
                    </a:gs>
                    <a:gs pos="100000">
                      <a:schemeClr val="tx1"/>
                    </a:gs>
                  </a:gsLst>
                  <a:lin ang="5400000" scaled="1"/>
                </a:gra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200712749"/>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32C2206-5980-DD4F-B1E7-EC8A49D8130C}"/>
              </a:ext>
            </a:extLst>
          </p:cNvPr>
          <p:cNvSpPr>
            <a:spLocks noGrp="1"/>
          </p:cNvSpPr>
          <p:nvPr>
            <p:ph idx="1"/>
          </p:nvPr>
        </p:nvSpPr>
        <p:spPr>
          <a:xfrm>
            <a:off x="455994" y="1817559"/>
            <a:ext cx="11231768" cy="14183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16D04B4B-B8F2-47D4-850E-16491285F99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237890"/>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userDrawn="1">
  <p:cSld name="Dark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397098"/>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2127221"/>
          </a:xfrm>
        </p:spPr>
        <p:txBody>
          <a:bodyPr wrap="square">
            <a:spAutoFit/>
          </a:bodyPr>
          <a:lstStyle>
            <a:lvl1pPr marL="0" indent="0">
              <a:spcBef>
                <a:spcPts val="1124"/>
              </a:spcBef>
              <a:buClr>
                <a:schemeClr val="tx1"/>
              </a:buClr>
              <a:buFont typeface="Wingdings" pitchFamily="2" charset="2"/>
              <a:buNone/>
              <a:defRPr sz="3308">
                <a:gradFill>
                  <a:gsLst>
                    <a:gs pos="1250">
                      <a:schemeClr val="tx2"/>
                    </a:gs>
                    <a:gs pos="99000">
                      <a:schemeClr val="tx2"/>
                    </a:gs>
                  </a:gsLst>
                  <a:lin ang="5400000" scaled="0"/>
                </a:gradFill>
              </a:defRPr>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127221"/>
          </a:xfrm>
        </p:spPr>
        <p:txBody>
          <a:bodyPr wrap="square">
            <a:spAutoFit/>
          </a:bodyPr>
          <a:lstStyle>
            <a:lvl1pPr marL="0" indent="0">
              <a:spcBef>
                <a:spcPts val="1124"/>
              </a:spcBef>
              <a:buClr>
                <a:schemeClr val="tx1"/>
              </a:buClr>
              <a:buFont typeface="Wingdings" pitchFamily="2" charset="2"/>
              <a:buNone/>
              <a:defRPr sz="3308">
                <a:gradFill>
                  <a:gsLst>
                    <a:gs pos="1250">
                      <a:schemeClr val="tx2"/>
                    </a:gs>
                    <a:gs pos="99000">
                      <a:schemeClr val="tx2"/>
                    </a:gs>
                  </a:gsLst>
                  <a:lin ang="5400000" scaled="0"/>
                </a:gradFill>
              </a:defRPr>
            </a:lvl1pPr>
            <a:lvl2pPr marL="0" indent="0">
              <a:buNone/>
              <a:defRPr sz="1838"/>
            </a:lvl2pPr>
            <a:lvl3pPr marL="212967" indent="0">
              <a:buNone/>
              <a:tabLst/>
              <a:defRPr sz="1838"/>
            </a:lvl3pPr>
            <a:lvl4pPr marL="423018" indent="0">
              <a:buNone/>
              <a:defRPr/>
            </a:lvl4pPr>
            <a:lvl5pPr marL="63015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64856089"/>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418315"/>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38034200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23223771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183802"/>
          </a:xfrm>
        </p:spPr>
        <p:txBody>
          <a:bodyPr wrap="square">
            <a:spAutoFit/>
          </a:bodyPr>
          <a:lstStyle>
            <a:lvl1pPr marL="264021" indent="-264021">
              <a:spcBef>
                <a:spcPts val="1124"/>
              </a:spcBef>
              <a:buClr>
                <a:schemeClr val="tx2"/>
              </a:buClr>
              <a:buFont typeface="Arial" pitchFamily="34" charset="0"/>
              <a:buChar char="•"/>
              <a:defRPr sz="3308">
                <a:gradFill>
                  <a:gsLst>
                    <a:gs pos="1250">
                      <a:schemeClr val="tx2"/>
                    </a:gs>
                    <a:gs pos="99000">
                      <a:schemeClr val="tx2"/>
                    </a:gs>
                  </a:gsLst>
                  <a:lin ang="5400000" scaled="0"/>
                </a:gradFill>
              </a:defRPr>
            </a:lvl1pPr>
            <a:lvl2pPr marL="488064" indent="-214272">
              <a:defRPr sz="2206"/>
            </a:lvl2pPr>
            <a:lvl3pPr marL="642817" indent="-154752">
              <a:tabLst/>
              <a:defRPr sz="1838"/>
            </a:lvl3pPr>
            <a:lvl4pPr marL="809473" indent="-166656">
              <a:defRPr/>
            </a:lvl4pPr>
            <a:lvl5pPr marL="964225" indent="-1547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183802"/>
          </a:xfrm>
        </p:spPr>
        <p:txBody>
          <a:bodyPr wrap="square">
            <a:spAutoFit/>
          </a:bodyPr>
          <a:lstStyle>
            <a:lvl1pPr marL="264021" indent="-264021">
              <a:spcBef>
                <a:spcPts val="1124"/>
              </a:spcBef>
              <a:buClr>
                <a:schemeClr val="tx2"/>
              </a:buClr>
              <a:buFont typeface="Arial" pitchFamily="34" charset="0"/>
              <a:buChar char="•"/>
              <a:defRPr sz="3308">
                <a:gradFill>
                  <a:gsLst>
                    <a:gs pos="1250">
                      <a:schemeClr val="tx2"/>
                    </a:gs>
                    <a:gs pos="99000">
                      <a:schemeClr val="tx2"/>
                    </a:gs>
                  </a:gsLst>
                  <a:lin ang="5400000" scaled="0"/>
                </a:gradFill>
              </a:defRPr>
            </a:lvl1pPr>
            <a:lvl2pPr marL="488064" indent="-214272">
              <a:defRPr sz="2206"/>
            </a:lvl2pPr>
            <a:lvl3pPr marL="642817" indent="-154752">
              <a:tabLst/>
              <a:defRPr sz="1838"/>
            </a:lvl3pPr>
            <a:lvl4pPr marL="809473" indent="-166656">
              <a:defRPr/>
            </a:lvl4pPr>
            <a:lvl5pPr marL="964225" indent="-1547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219661254"/>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3200">
                <a:gradFill>
                  <a:gsLst>
                    <a:gs pos="0">
                      <a:schemeClr val="tx1"/>
                    </a:gs>
                    <a:gs pos="100000">
                      <a:schemeClr val="tx1"/>
                    </a:gs>
                  </a:gsLst>
                  <a:lin ang="5400000" scaled="1"/>
                </a:gradFill>
              </a:defRPr>
            </a:lvl1pPr>
          </a:lstStyle>
          <a:p>
            <a:r>
              <a:rPr lang="en-US"/>
              <a:t>Table styling</a:t>
            </a:r>
          </a:p>
        </p:txBody>
      </p:sp>
      <p:sp>
        <p:nvSpPr>
          <p:cNvPr id="4" name="Table Placeholder 3"/>
          <p:cNvSpPr>
            <a:spLocks noGrp="1"/>
          </p:cNvSpPr>
          <p:nvPr>
            <p:ph type="tbl" sz="quarter" idx="10"/>
          </p:nvPr>
        </p:nvSpPr>
        <p:spPr>
          <a:xfrm>
            <a:off x="455995" y="2158885"/>
            <a:ext cx="11306469" cy="4078687"/>
          </a:xfrm>
          <a:prstGeom prst="rect">
            <a:avLst/>
          </a:prstGeom>
        </p:spPr>
        <p:txBody>
          <a:bodyPr anchor="ctr" anchorCtr="0">
            <a:noAutofit/>
          </a:bodyPr>
          <a:lstStyle>
            <a:lvl1pPr algn="ctr">
              <a:defRPr>
                <a:gradFill>
                  <a:gsLst>
                    <a:gs pos="0">
                      <a:schemeClr val="tx1"/>
                    </a:gs>
                    <a:gs pos="100000">
                      <a:schemeClr val="tx1"/>
                    </a:gs>
                  </a:gsLst>
                  <a:lin ang="5400000" scaled="1"/>
                </a:gradFill>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070702683"/>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6" name="Picture 5" descr="A view of a city at night&#10;&#10;Description generated with very high confidence">
            <a:extLst>
              <a:ext uri="{FF2B5EF4-FFF2-40B4-BE49-F238E27FC236}">
                <a16:creationId xmlns:a16="http://schemas.microsoft.com/office/drawing/2014/main" id="{72FF2D6A-C9E9-4B3B-8A3D-0C7380D0F0D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24325" r="8922"/>
          <a:stretch/>
        </p:blipFill>
        <p:spPr>
          <a:xfrm>
            <a:off x="5333998" y="0"/>
            <a:ext cx="6858001" cy="6858000"/>
          </a:xfrm>
          <a:prstGeom prst="rect">
            <a:avLst/>
          </a:prstGeom>
        </p:spPr>
      </p:pic>
    </p:spTree>
    <p:extLst>
      <p:ext uri="{BB962C8B-B14F-4D97-AF65-F5344CB8AC3E}">
        <p14:creationId xmlns:p14="http://schemas.microsoft.com/office/powerpoint/2010/main" val="1091923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6186" y="2294474"/>
            <a:ext cx="10757098" cy="1077315"/>
          </a:xfrm>
          <a:noFill/>
        </p:spPr>
        <p:txBody>
          <a:bodyPr wrap="square" tIns="91440" bIns="91440" anchor="t" anchorCtr="0">
            <a:spAutoFit/>
          </a:bodyPr>
          <a:lstStyle>
            <a:lvl1pPr algn="ctr">
              <a:defRPr sz="647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605053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5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9746269"/>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090941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80206" y="223043"/>
            <a:ext cx="10515600" cy="1325563"/>
          </a:xfrm>
          <a:prstGeom prst="rect">
            <a:avLst/>
          </a:prstGeom>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82201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userDrawn="1">
  <p:cSld name="Title and Content (2 Col)">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52DDD6CB-BF48-F740-8165-37C1A075C69B}"/>
              </a:ext>
            </a:extLst>
          </p:cNvPr>
          <p:cNvSpPr>
            <a:spLocks noGrp="1"/>
          </p:cNvSpPr>
          <p:nvPr>
            <p:ph type="title"/>
          </p:nvPr>
        </p:nvSpPr>
        <p:spPr>
          <a:xfrm>
            <a:off x="588263" y="457199"/>
            <a:ext cx="7508990" cy="553998"/>
          </a:xfrm>
          <a:prstGeom prst="rect">
            <a:avLst/>
          </a:prstGeom>
        </p:spPr>
        <p:txBody>
          <a:bodyPr/>
          <a:lstStyle>
            <a:lvl1pPr>
              <a:defRPr>
                <a:solidFill>
                  <a:schemeClr val="tx1"/>
                </a:solidFill>
              </a:defRPr>
            </a:lvl1pPr>
          </a:lstStyle>
          <a:p>
            <a:r>
              <a:rPr lang="en-US"/>
              <a:t>Click to edit Master title style</a:t>
            </a:r>
          </a:p>
        </p:txBody>
      </p:sp>
      <p:sp>
        <p:nvSpPr>
          <p:cNvPr id="7" name="Content Placeholder 1">
            <a:extLst>
              <a:ext uri="{FF2B5EF4-FFF2-40B4-BE49-F238E27FC236}">
                <a16:creationId xmlns:a16="http://schemas.microsoft.com/office/drawing/2014/main" id="{529CD3D1-1CFC-4540-BAC6-B737D02320E4}"/>
              </a:ext>
            </a:extLst>
          </p:cNvPr>
          <p:cNvSpPr>
            <a:spLocks noGrp="1"/>
          </p:cNvSpPr>
          <p:nvPr>
            <p:ph sz="quarter" idx="11"/>
          </p:nvPr>
        </p:nvSpPr>
        <p:spPr>
          <a:xfrm>
            <a:off x="586390" y="1195469"/>
            <a:ext cx="5415759" cy="1612749"/>
          </a:xfrm>
          <a:prstGeom prst="rect">
            <a:avLst/>
          </a:prstGeom>
        </p:spPr>
        <p:txBody>
          <a:bodyPr/>
          <a:lstStyle>
            <a:lvl1pPr marL="0" indent="0">
              <a:buNone/>
              <a:defRPr>
                <a:solidFill>
                  <a:schemeClr val="tx1"/>
                </a:solidFill>
              </a:defRPr>
            </a:lvl1pPr>
            <a:lvl2pPr marL="228600" indent="0">
              <a:buNone/>
              <a:defRPr>
                <a:solidFill>
                  <a:schemeClr val="tx1"/>
                </a:solidFill>
              </a:defRPr>
            </a:lvl2pPr>
            <a:lvl3pPr marL="457200" indent="0">
              <a:buNone/>
              <a:defRPr>
                <a:solidFill>
                  <a:schemeClr val="tx1"/>
                </a:solidFill>
              </a:defRPr>
            </a:lvl3pPr>
            <a:lvl4pPr marL="661988" indent="0">
              <a:buNone/>
              <a:defRPr>
                <a:solidFill>
                  <a:schemeClr val="tx1"/>
                </a:solidFill>
              </a:defRPr>
            </a:lvl4pPr>
            <a:lvl5pPr marL="855663"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D36C8216-CF44-794B-A25D-DC252D549B99}"/>
              </a:ext>
            </a:extLst>
          </p:cNvPr>
          <p:cNvSpPr>
            <a:spLocks noGrp="1"/>
          </p:cNvSpPr>
          <p:nvPr>
            <p:ph sz="quarter" idx="12"/>
          </p:nvPr>
        </p:nvSpPr>
        <p:spPr>
          <a:xfrm>
            <a:off x="6189853" y="1195469"/>
            <a:ext cx="5413248" cy="1612749"/>
          </a:xfrm>
          <a:prstGeom prst="rect">
            <a:avLst/>
          </a:prstGeom>
        </p:spPr>
        <p:txBody>
          <a:bodyPr/>
          <a:lstStyle>
            <a:lvl1pPr marL="0" indent="0">
              <a:buNone/>
              <a:defRPr>
                <a:solidFill>
                  <a:schemeClr val="tx1"/>
                </a:solidFill>
              </a:defRPr>
            </a:lvl1pPr>
            <a:lvl2pPr marL="228600" indent="0">
              <a:buNone/>
              <a:defRPr>
                <a:solidFill>
                  <a:schemeClr val="tx1"/>
                </a:solidFill>
              </a:defRPr>
            </a:lvl2pPr>
            <a:lvl3pPr marL="457200" indent="0">
              <a:buNone/>
              <a:defRPr>
                <a:solidFill>
                  <a:schemeClr val="tx1"/>
                </a:solidFill>
              </a:defRPr>
            </a:lvl3pPr>
            <a:lvl4pPr marL="661988" indent="0">
              <a:buNone/>
              <a:defRPr>
                <a:solidFill>
                  <a:schemeClr val="tx1"/>
                </a:solidFill>
              </a:defRPr>
            </a:lvl4pPr>
            <a:lvl5pPr marL="855663"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5282137"/>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8896949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userDrawn="1">
  <p:cSld name="Section">
    <p:spTree>
      <p:nvGrpSpPr>
        <p:cNvPr id="1" name=""/>
        <p:cNvGrpSpPr/>
        <p:nvPr/>
      </p:nvGrpSpPr>
      <p:grpSpPr>
        <a:xfrm>
          <a:off x="0" y="0"/>
          <a:ext cx="0" cy="0"/>
          <a:chOff x="0" y="0"/>
          <a:chExt cx="0" cy="0"/>
        </a:xfrm>
      </p:grpSpPr>
      <p:sp>
        <p:nvSpPr>
          <p:cNvPr id="2" name="Title 1"/>
          <p:cNvSpPr>
            <a:spLocks noGrp="1"/>
          </p:cNvSpPr>
          <p:nvPr>
            <p:ph type="title"/>
          </p:nvPr>
        </p:nvSpPr>
        <p:spPr>
          <a:xfrm>
            <a:off x="411969" y="3065261"/>
            <a:ext cx="11311107" cy="727478"/>
          </a:xfrm>
        </p:spPr>
        <p:txBody>
          <a:bodyPr anchor="ctr" anchorCtr="0"/>
          <a:lstStyle>
            <a:lvl1pPr>
              <a:defRPr sz="4800"/>
            </a:lvl1pPr>
          </a:lstStyle>
          <a:p>
            <a:r>
              <a:rPr lang="en-US"/>
              <a:t>Click to edit Master title style</a:t>
            </a:r>
          </a:p>
        </p:txBody>
      </p:sp>
      <p:sp>
        <p:nvSpPr>
          <p:cNvPr id="65" name="Rectangle 64">
            <a:extLst>
              <a:ext uri="{FF2B5EF4-FFF2-40B4-BE49-F238E27FC236}">
                <a16:creationId xmlns:a16="http://schemas.microsoft.com/office/drawing/2014/main" id="{430998B1-F8DB-4C6F-8A97-8E62B6730763}"/>
              </a:ext>
            </a:extLst>
          </p:cNvPr>
          <p:cNvSpPr/>
          <p:nvPr userDrawn="1"/>
        </p:nvSpPr>
        <p:spPr>
          <a:xfrm>
            <a:off x="10023485" y="5943072"/>
            <a:ext cx="1863715" cy="7588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211685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356306700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971670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7347115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492703187"/>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453326386"/>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4026345817"/>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936114002"/>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080122197"/>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7335198"/>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962398788"/>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61857753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395608810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241919767"/>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898247018"/>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757579086"/>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3382588038"/>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382042276"/>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038034900"/>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265279154"/>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42805958"/>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813750252"/>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78933836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35603704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001824191"/>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1262002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7681478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867460704"/>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940599252"/>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2564956381"/>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6097894"/>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2351127899"/>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3799867558"/>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EBEBEB">
                    <a:lumMod val="75000"/>
                  </a:srgbClr>
                </a:solidFill>
                <a:effectLst/>
                <a:uLnTx/>
                <a:uFillTx/>
                <a:latin typeface="Segoe UI"/>
                <a:ea typeface="+mn-ea"/>
                <a:cs typeface="Segoe UI" pitchFamily="34" charset="0"/>
              </a:rPr>
              <a:t>©Microsoft Corporation									                                                                                                                                             Azure </a:t>
            </a:r>
          </a:p>
        </p:txBody>
      </p:sp>
    </p:spTree>
    <p:extLst>
      <p:ext uri="{BB962C8B-B14F-4D97-AF65-F5344CB8AC3E}">
        <p14:creationId xmlns:p14="http://schemas.microsoft.com/office/powerpoint/2010/main" val="65845882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1674906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00380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8505438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934B0-6238-446B-A541-F3D2458B8FC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ED70913-E818-4DEF-A795-FE037C28891F}"/>
              </a:ext>
            </a:extLst>
          </p:cNvPr>
          <p:cNvSpPr>
            <a:spLocks noGrp="1"/>
          </p:cNvSpPr>
          <p:nvPr>
            <p:ph type="dt" sz="half" idx="10"/>
          </p:nvPr>
        </p:nvSpPr>
        <p:spPr/>
        <p:txBody>
          <a:bodyPr/>
          <a:lstStyle/>
          <a:p>
            <a:fld id="{E598383A-5E27-400D-A06E-1F159D6DFDDD}" type="datetimeFigureOut">
              <a:rPr lang="en-US" smtClean="0"/>
              <a:t>3/29/2021</a:t>
            </a:fld>
            <a:endParaRPr lang="en-US"/>
          </a:p>
        </p:txBody>
      </p:sp>
      <p:sp>
        <p:nvSpPr>
          <p:cNvPr id="4" name="Footer Placeholder 3">
            <a:extLst>
              <a:ext uri="{FF2B5EF4-FFF2-40B4-BE49-F238E27FC236}">
                <a16:creationId xmlns:a16="http://schemas.microsoft.com/office/drawing/2014/main" id="{99FB8BD6-0379-4400-B224-4B262849314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8124AE9-ED30-4877-9B77-B6F65FB9B4FA}"/>
              </a:ext>
            </a:extLst>
          </p:cNvPr>
          <p:cNvSpPr>
            <a:spLocks noGrp="1"/>
          </p:cNvSpPr>
          <p:nvPr>
            <p:ph type="sldNum" sz="quarter" idx="12"/>
          </p:nvPr>
        </p:nvSpPr>
        <p:spPr/>
        <p:txBody>
          <a:bodyPr/>
          <a:lstStyle/>
          <a:p>
            <a:fld id="{E838D20A-A11A-4405-AA14-A2313EB8D7F8}" type="slidenum">
              <a:rPr lang="en-US" smtClean="0"/>
              <a:t>‹#›</a:t>
            </a:fld>
            <a:endParaRPr lang="en-US"/>
          </a:p>
        </p:txBody>
      </p:sp>
    </p:spTree>
    <p:extLst>
      <p:ext uri="{BB962C8B-B14F-4D97-AF65-F5344CB8AC3E}">
        <p14:creationId xmlns:p14="http://schemas.microsoft.com/office/powerpoint/2010/main" val="518748871"/>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Ignite event illustration dark">
            <a:extLst>
              <a:ext uri="{FF2B5EF4-FFF2-40B4-BE49-F238E27FC236}">
                <a16:creationId xmlns:a16="http://schemas.microsoft.com/office/drawing/2014/main" id="{900C604B-14C0-45AA-8961-B081C1E5B968}"/>
              </a:ext>
            </a:extLst>
          </p:cNvPr>
          <p:cNvPicPr>
            <a:picLocks noChangeAspect="1"/>
          </p:cNvPicPr>
          <p:nvPr userDrawn="1"/>
        </p:nvPicPr>
        <p:blipFill>
          <a:blip r:embed="rId2"/>
          <a:stretch>
            <a:fillRect/>
          </a:stretch>
        </p:blipFill>
        <p:spPr bwMode="invGray">
          <a:xfrm>
            <a:off x="0" y="0"/>
            <a:ext cx="12192000" cy="6857999"/>
          </a:xfrm>
          <a:prstGeom prst="rect">
            <a:avLst/>
          </a:prstGeom>
        </p:spPr>
      </p:pic>
      <p:pic>
        <p:nvPicPr>
          <p:cNvPr id="3" name="MS logo white - EMF" descr="Microsoft logo white text version">
            <a:extLst>
              <a:ext uri="{FF2B5EF4-FFF2-40B4-BE49-F238E27FC236}">
                <a16:creationId xmlns:a16="http://schemas.microsoft.com/office/drawing/2014/main" id="{9EC268FC-6E15-4088-8C76-1BBAB3B698BD}"/>
              </a:ext>
            </a:extLst>
          </p:cNvPr>
          <p:cNvPicPr>
            <a:picLocks noChangeAspect="1"/>
          </p:cNvPicPr>
          <p:nvPr userDrawn="1"/>
        </p:nvPicPr>
        <p:blipFill>
          <a:blip r:embed="rId3"/>
          <a:stretch>
            <a:fillRect/>
          </a:stretch>
        </p:blipFill>
        <p:spPr bwMode="invGray">
          <a:xfrm>
            <a:off x="584200" y="585788"/>
            <a:ext cx="1366245" cy="292608"/>
          </a:xfrm>
          <a:prstGeom prst="rect">
            <a:avLst/>
          </a:prstGeom>
        </p:spPr>
      </p:pic>
      <p:pic>
        <p:nvPicPr>
          <p:cNvPr id="10" name="Picture 9" descr="Microsoft Ignite">
            <a:extLst>
              <a:ext uri="{FF2B5EF4-FFF2-40B4-BE49-F238E27FC236}">
                <a16:creationId xmlns:a16="http://schemas.microsoft.com/office/drawing/2014/main" id="{643854D1-D444-4A25-AE1C-0BE7029C63CB}"/>
              </a:ext>
            </a:extLst>
          </p:cNvPr>
          <p:cNvPicPr>
            <a:picLocks noChangeAspect="1"/>
          </p:cNvPicPr>
          <p:nvPr userDrawn="1"/>
        </p:nvPicPr>
        <p:blipFill>
          <a:blip r:embed="rId4"/>
          <a:srcRect/>
          <a:stretch/>
        </p:blipFill>
        <p:spPr bwMode="invGray">
          <a:xfrm>
            <a:off x="-14514" y="1296364"/>
            <a:ext cx="6470195" cy="1667922"/>
          </a:xfrm>
          <a:prstGeom prst="rect">
            <a:avLst/>
          </a:prstGeom>
        </p:spPr>
      </p:pic>
    </p:spTree>
    <p:extLst>
      <p:ext uri="{BB962C8B-B14F-4D97-AF65-F5344CB8AC3E}">
        <p14:creationId xmlns:p14="http://schemas.microsoft.com/office/powerpoint/2010/main" val="2700461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t>
            </a:r>
            <a:r>
              <a:rPr lang="en-US" err="1"/>
              <a:t>IoT</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2" name="Picture 1">
            <a:extLst>
              <a:ext uri="{FF2B5EF4-FFF2-40B4-BE49-F238E27FC236}">
                <a16:creationId xmlns:a16="http://schemas.microsoft.com/office/drawing/2014/main" id="{7B7211F8-4DBB-F148-9213-1CD906B157A9}"/>
              </a:ext>
            </a:extLst>
          </p:cNvPr>
          <p:cNvPicPr>
            <a:picLocks noChangeAspect="1"/>
          </p:cNvPicPr>
          <p:nvPr userDrawn="1"/>
        </p:nvPicPr>
        <p:blipFill>
          <a:blip r:embed="rId2"/>
          <a:stretch>
            <a:fillRect/>
          </a:stretch>
        </p:blipFill>
        <p:spPr>
          <a:xfrm>
            <a:off x="406789" y="406526"/>
            <a:ext cx="958677" cy="211686"/>
          </a:xfrm>
          <a:prstGeom prst="rect">
            <a:avLst/>
          </a:prstGeom>
        </p:spPr>
      </p:pic>
    </p:spTree>
    <p:extLst>
      <p:ext uri="{BB962C8B-B14F-4D97-AF65-F5344CB8AC3E}">
        <p14:creationId xmlns:p14="http://schemas.microsoft.com/office/powerpoint/2010/main" val="1417791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t>
            </a:r>
            <a:r>
              <a:rPr lang="en-US" err="1"/>
              <a:t>IoT</a:t>
            </a:r>
            <a:br>
              <a:rPr lang="en-US"/>
            </a:br>
            <a:r>
              <a:rPr lang="en-US"/>
              <a:t>title or event name</a:t>
            </a:r>
          </a:p>
        </p:txBody>
      </p:sp>
      <p:pic>
        <p:nvPicPr>
          <p:cNvPr id="2" name="Picture 1">
            <a:extLst>
              <a:ext uri="{FF2B5EF4-FFF2-40B4-BE49-F238E27FC236}">
                <a16:creationId xmlns:a16="http://schemas.microsoft.com/office/drawing/2014/main" id="{D5788672-4E4F-384F-BC06-960DD2B92DCE}"/>
              </a:ext>
            </a:extLst>
          </p:cNvPr>
          <p:cNvPicPr>
            <a:picLocks noChangeAspect="1"/>
          </p:cNvPicPr>
          <p:nvPr userDrawn="1"/>
        </p:nvPicPr>
        <p:blipFill>
          <a:blip r:embed="rId2"/>
          <a:stretch>
            <a:fillRect/>
          </a:stretch>
        </p:blipFill>
        <p:spPr>
          <a:xfrm>
            <a:off x="407391" y="405703"/>
            <a:ext cx="958677" cy="211686"/>
          </a:xfrm>
          <a:prstGeom prst="rect">
            <a:avLst/>
          </a:prstGeom>
        </p:spPr>
      </p:pic>
    </p:spTree>
    <p:extLst>
      <p:ext uri="{BB962C8B-B14F-4D97-AF65-F5344CB8AC3E}">
        <p14:creationId xmlns:p14="http://schemas.microsoft.com/office/powerpoint/2010/main" val="10595669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0FF96BB-AF6E-5740-BF45-B6600B6FB46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951" y="0"/>
            <a:ext cx="12160097" cy="6858000"/>
          </a:xfrm>
          <a:prstGeom prst="rect">
            <a:avLst/>
          </a:prstGeom>
        </p:spPr>
      </p:pic>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t>
            </a:r>
            <a:r>
              <a:rPr lang="en-US" err="1"/>
              <a:t>IoT</a:t>
            </a:r>
            <a:r>
              <a:rPr lang="en-US"/>
              <a:t> title or event name</a:t>
            </a:r>
          </a:p>
        </p:txBody>
      </p:sp>
      <p:pic>
        <p:nvPicPr>
          <p:cNvPr id="14" name="Picture 13">
            <a:extLst>
              <a:ext uri="{FF2B5EF4-FFF2-40B4-BE49-F238E27FC236}">
                <a16:creationId xmlns:a16="http://schemas.microsoft.com/office/drawing/2014/main" id="{B05DEBAC-6A58-FF49-B5E5-237C6F450AF9}"/>
              </a:ext>
            </a:extLst>
          </p:cNvPr>
          <p:cNvPicPr>
            <a:picLocks noChangeAspect="1"/>
          </p:cNvPicPr>
          <p:nvPr userDrawn="1"/>
        </p:nvPicPr>
        <p:blipFill>
          <a:blip r:embed="rId3"/>
          <a:stretch>
            <a:fillRect/>
          </a:stretch>
        </p:blipFill>
        <p:spPr>
          <a:xfrm>
            <a:off x="407391" y="405703"/>
            <a:ext cx="958677" cy="211686"/>
          </a:xfrm>
          <a:prstGeom prst="rect">
            <a:avLst/>
          </a:prstGeom>
        </p:spPr>
      </p:pic>
    </p:spTree>
    <p:extLst>
      <p:ext uri="{BB962C8B-B14F-4D97-AF65-F5344CB8AC3E}">
        <p14:creationId xmlns:p14="http://schemas.microsoft.com/office/powerpoint/2010/main" val="2274129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7D9530F-1AE6-D546-884F-8D088BF19FC6}"/>
              </a:ext>
            </a:extLst>
          </p:cNvPr>
          <p:cNvPicPr>
            <a:picLocks noChangeAspect="1"/>
          </p:cNvPicPr>
          <p:nvPr userDrawn="1"/>
        </p:nvPicPr>
        <p:blipFill rotWithShape="1">
          <a:blip>
            <a:extLst>
              <a:ext uri="{28A0092B-C50C-407E-A947-70E740481C1C}">
                <a14:useLocalDpi xmlns:a14="http://schemas.microsoft.com/office/drawing/2010/main" val="0"/>
              </a:ext>
            </a:extLst>
          </a:blip>
          <a:srcRect t="15637"/>
          <a:stretch/>
        </p:blipFill>
        <p:spPr>
          <a:xfrm>
            <a:off x="0" y="0"/>
            <a:ext cx="12192000" cy="6858000"/>
          </a:xfrm>
          <a:prstGeom prst="rect">
            <a:avLst/>
          </a:prstGeom>
        </p:spPr>
      </p:pic>
      <p:sp>
        <p:nvSpPr>
          <p:cNvPr id="7" name="Rectangle 6">
            <a:extLst>
              <a:ext uri="{FF2B5EF4-FFF2-40B4-BE49-F238E27FC236}">
                <a16:creationId xmlns:a16="http://schemas.microsoft.com/office/drawing/2014/main" id="{13532A61-7338-495C-8787-A222781205FF}"/>
              </a:ext>
            </a:extLst>
          </p:cNvPr>
          <p:cNvSpPr/>
          <p:nvPr userDrawn="1"/>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a:t>
            </a:r>
            <a:r>
              <a:rPr lang="en-US" err="1"/>
              <a:t>IoT</a:t>
            </a:r>
            <a:r>
              <a:rPr lang="en-US"/>
              <a:t> title or event name</a:t>
            </a:r>
          </a:p>
        </p:txBody>
      </p:sp>
      <p:pic>
        <p:nvPicPr>
          <p:cNvPr id="2" name="Picture 1">
            <a:extLst>
              <a:ext uri="{FF2B5EF4-FFF2-40B4-BE49-F238E27FC236}">
                <a16:creationId xmlns:a16="http://schemas.microsoft.com/office/drawing/2014/main" id="{6847F158-6392-E149-AFD6-49796C5D3697}"/>
              </a:ext>
            </a:extLst>
          </p:cNvPr>
          <p:cNvPicPr>
            <a:picLocks noChangeAspect="1"/>
          </p:cNvPicPr>
          <p:nvPr userDrawn="1"/>
        </p:nvPicPr>
        <p:blipFill>
          <a:blip r:embed="rId2"/>
          <a:stretch>
            <a:fillRect/>
          </a:stretch>
        </p:blipFill>
        <p:spPr>
          <a:xfrm>
            <a:off x="428681" y="406525"/>
            <a:ext cx="958677" cy="211686"/>
          </a:xfrm>
          <a:prstGeom prst="rect">
            <a:avLst/>
          </a:prstGeom>
        </p:spPr>
      </p:pic>
    </p:spTree>
    <p:extLst>
      <p:ext uri="{BB962C8B-B14F-4D97-AF65-F5344CB8AC3E}">
        <p14:creationId xmlns:p14="http://schemas.microsoft.com/office/powerpoint/2010/main" val="3217410739"/>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4260276527"/>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94013683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74559529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251443337"/>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365956437"/>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621100173"/>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337651459"/>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884961943"/>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8957245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753647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068722177"/>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917331596"/>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13117198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61867737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799465708"/>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508905513"/>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681095499"/>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994688323"/>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2" name="Picture 1">
            <a:extLst>
              <a:ext uri="{FF2B5EF4-FFF2-40B4-BE49-F238E27FC236}">
                <a16:creationId xmlns:a16="http://schemas.microsoft.com/office/drawing/2014/main" id="{085186FC-0D32-394B-A766-D567AE5C4DA4}"/>
              </a:ext>
            </a:extLst>
          </p:cNvPr>
          <p:cNvPicPr>
            <a:picLocks noChangeAspect="1"/>
          </p:cNvPicPr>
          <p:nvPr userDrawn="1"/>
        </p:nvPicPr>
        <p:blipFill>
          <a:blip r:embed="rId2"/>
          <a:stretch>
            <a:fillRect/>
          </a:stretch>
        </p:blipFill>
        <p:spPr>
          <a:xfrm>
            <a:off x="454170" y="281689"/>
            <a:ext cx="958677" cy="211686"/>
          </a:xfrm>
          <a:prstGeom prst="rect">
            <a:avLst/>
          </a:prstGeom>
        </p:spPr>
      </p:pic>
    </p:spTree>
    <p:extLst>
      <p:ext uri="{BB962C8B-B14F-4D97-AF65-F5344CB8AC3E}">
        <p14:creationId xmlns:p14="http://schemas.microsoft.com/office/powerpoint/2010/main" val="22325220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931AF-7E34-4B3F-8061-19F4EACBF7F4}"/>
              </a:ext>
            </a:extLst>
          </p:cNvPr>
          <p:cNvSpPr>
            <a:spLocks noGrp="1"/>
          </p:cNvSpPr>
          <p:nvPr>
            <p:ph type="title"/>
          </p:nvPr>
        </p:nvSpPr>
        <p:spPr>
          <a:xfrm>
            <a:off x="439403" y="2029078"/>
            <a:ext cx="4361198" cy="2795153"/>
          </a:xfrm>
        </p:spPr>
        <p:txBody>
          <a:bodyPr/>
          <a:lstStyle>
            <a:lvl1pPr algn="l">
              <a:defRPr>
                <a:solidFill>
                  <a:schemeClr val="tx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BB29D4C-7A11-4689-9344-53324623D160}"/>
              </a:ext>
            </a:extLst>
          </p:cNvPr>
          <p:cNvSpPr>
            <a:spLocks noGrp="1"/>
          </p:cNvSpPr>
          <p:nvPr>
            <p:ph idx="1"/>
          </p:nvPr>
        </p:nvSpPr>
        <p:spPr>
          <a:xfrm>
            <a:off x="5453017" y="2618207"/>
            <a:ext cx="5900783" cy="1569199"/>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EC30B6-F52D-4776-AD2E-B15536F8A531}"/>
              </a:ext>
            </a:extLst>
          </p:cNvPr>
          <p:cNvSpPr>
            <a:spLocks noGrp="1"/>
          </p:cNvSpPr>
          <p:nvPr>
            <p:ph type="dt" sz="half" idx="10"/>
          </p:nvPr>
        </p:nvSpPr>
        <p:spPr/>
        <p:txBody>
          <a:bodyPr/>
          <a:lstStyle/>
          <a:p>
            <a:fld id="{E504F681-2B88-4CF5-8955-112896A75F4A}" type="datetimeFigureOut">
              <a:rPr lang="en-US" smtClean="0"/>
              <a:t>3/29/2021</a:t>
            </a:fld>
            <a:endParaRPr lang="en-US"/>
          </a:p>
        </p:txBody>
      </p:sp>
      <p:sp>
        <p:nvSpPr>
          <p:cNvPr id="5" name="Footer Placeholder 4">
            <a:extLst>
              <a:ext uri="{FF2B5EF4-FFF2-40B4-BE49-F238E27FC236}">
                <a16:creationId xmlns:a16="http://schemas.microsoft.com/office/drawing/2014/main" id="{EE136DED-D1D4-4AF7-9407-0D8E5475AD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40E04A-CE28-4145-8880-3D48831AB8A7}"/>
              </a:ext>
            </a:extLst>
          </p:cNvPr>
          <p:cNvSpPr>
            <a:spLocks noGrp="1"/>
          </p:cNvSpPr>
          <p:nvPr>
            <p:ph type="sldNum" sz="quarter" idx="12"/>
          </p:nvPr>
        </p:nvSpPr>
        <p:spPr/>
        <p:txBody>
          <a:bodyPr/>
          <a:lstStyle/>
          <a:p>
            <a:fld id="{342CE631-D64F-40A6-959C-05AB2D65FE46}" type="slidenum">
              <a:rPr lang="en-US" smtClean="0"/>
              <a:t>‹#›</a:t>
            </a:fld>
            <a:endParaRPr lang="en-US"/>
          </a:p>
        </p:txBody>
      </p:sp>
    </p:spTree>
    <p:extLst>
      <p:ext uri="{BB962C8B-B14F-4D97-AF65-F5344CB8AC3E}">
        <p14:creationId xmlns:p14="http://schemas.microsoft.com/office/powerpoint/2010/main" val="2146474010"/>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cSld name="Divider (Viz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7786E81-E6CB-644F-A2CF-67E98B2C4FFA}"/>
              </a:ext>
            </a:extLst>
          </p:cNvPr>
          <p:cNvPicPr>
            <a:picLocks noChangeAspect="1"/>
          </p:cNvPicPr>
          <p:nvPr/>
        </p:nvPicPr>
        <p:blipFill>
          <a:blip r:embed="rId2">
            <a:lum bright="13000"/>
            <a:alphaModFix amt="8000"/>
          </a:blip>
          <a:stretch>
            <a:fillRect/>
          </a:stretch>
        </p:blipFill>
        <p:spPr>
          <a:xfrm>
            <a:off x="5813612" y="115747"/>
            <a:ext cx="6014762" cy="6439596"/>
          </a:xfrm>
          <a:prstGeom prst="rect">
            <a:avLst/>
          </a:prstGeom>
        </p:spPr>
      </p:pic>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05636" y="3276602"/>
            <a:ext cx="9195564" cy="1402440"/>
          </a:xfrm>
          <a:prstGeom prst="rect">
            <a:avLst/>
          </a:prstGeom>
        </p:spPr>
        <p:txBody>
          <a:bodyPr lIns="0" anchor="t" anchorCtr="0">
            <a:noAutofit/>
          </a:bodyPr>
          <a:lstStyle>
            <a:lvl1pPr>
              <a:defRPr sz="5399" baseline="0">
                <a:solidFill>
                  <a:schemeClr val="tx1"/>
                </a:solidFill>
              </a:defRPr>
            </a:lvl1pPr>
          </a:lstStyle>
          <a:p>
            <a:r>
              <a:rPr lang="en-US" dirty="0"/>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62960" y="2590800"/>
            <a:ext cx="8452440" cy="685801"/>
          </a:xfrm>
          <a:prstGeom prst="rect">
            <a:avLst/>
          </a:prstGeom>
        </p:spPr>
        <p:txBody>
          <a:bodyPr vert="horz" lIns="0" tIns="0" rIns="0" bIns="0" rtlCol="0" anchor="b" anchorCtr="0">
            <a:noAutofit/>
          </a:bodyPr>
          <a:lstStyle>
            <a:lvl1pPr marL="457027" indent="-457027">
              <a:buFont typeface="+mj-lt"/>
              <a:buNone/>
              <a:defRPr sz="2400" b="0" i="0" dirty="0">
                <a:solidFill>
                  <a:schemeClr val="accent2"/>
                </a:solidFill>
                <a:latin typeface="Segoe UI Semibold" panose="020B0702040204020203" pitchFamily="34" charset="0"/>
                <a:cs typeface="Segoe UI Semibold" panose="020B0702040204020203" pitchFamily="34" charset="0"/>
              </a:defRPr>
            </a:lvl1pPr>
          </a:lstStyle>
          <a:p>
            <a:pPr marL="0" lvl="0" indent="0"/>
            <a:r>
              <a:rPr lang="en-US" dirty="0"/>
              <a:t>Click to edit Master text styles</a:t>
            </a:r>
          </a:p>
        </p:txBody>
      </p:sp>
      <p:sp>
        <p:nvSpPr>
          <p:cNvPr id="2" name="Slide Number Placeholder 1">
            <a:extLst>
              <a:ext uri="{FF2B5EF4-FFF2-40B4-BE49-F238E27FC236}">
                <a16:creationId xmlns:a16="http://schemas.microsoft.com/office/drawing/2014/main" id="{78DB1D9C-4A07-1A4E-8C31-FDBDD36F1915}"/>
              </a:ext>
            </a:extLst>
          </p:cNvPr>
          <p:cNvSpPr>
            <a:spLocks noGrp="1"/>
          </p:cNvSpPr>
          <p:nvPr>
            <p:ph type="sldNum" sz="quarter" idx="31"/>
          </p:nvPr>
        </p:nvSpPr>
        <p:spPr>
          <a:xfrm>
            <a:off x="11010900" y="6442503"/>
            <a:ext cx="1180135" cy="415498"/>
          </a:xfrm>
          <a:prstGeom prst="rect">
            <a:avLst/>
          </a:prstGeom>
        </p:spPr>
        <p:txBody>
          <a:bodyPr/>
          <a:lstStyle/>
          <a:p>
            <a:fld id="{342CE631-D64F-40A6-959C-05AB2D65FE46}" type="slidenum">
              <a:rPr lang="en-US" smtClean="0"/>
              <a:t>‹#›</a:t>
            </a:fld>
            <a:endParaRPr lang="en-US"/>
          </a:p>
        </p:txBody>
      </p:sp>
    </p:spTree>
    <p:extLst>
      <p:ext uri="{BB962C8B-B14F-4D97-AF65-F5344CB8AC3E}">
        <p14:creationId xmlns:p14="http://schemas.microsoft.com/office/powerpoint/2010/main" val="2406227427"/>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73084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57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4"/>
            <a:ext cx="11655078" cy="15691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7086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p:cSld name="Demo">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B11FEBD-5C2F-4BE7-BB21-A5DB64908724}"/>
              </a:ext>
            </a:extLst>
          </p:cNvPr>
          <p:cNvSpPr>
            <a:spLocks noGrp="1"/>
          </p:cNvSpPr>
          <p:nvPr>
            <p:ph type="title" hasCustomPrompt="1"/>
          </p:nvPr>
        </p:nvSpPr>
        <p:spPr>
          <a:xfrm>
            <a:off x="409143" y="2590801"/>
            <a:ext cx="10601757" cy="990631"/>
          </a:xfrm>
          <a:prstGeom prst="rect">
            <a:avLst/>
          </a:prstGeom>
        </p:spPr>
        <p:txBody>
          <a:bodyPr lIns="0" anchor="b" anchorCtr="0">
            <a:noAutofit/>
          </a:bodyPr>
          <a:lstStyle>
            <a:lvl1pPr>
              <a:defRPr sz="5998" b="1" i="0" baseline="0">
                <a:solidFill>
                  <a:schemeClr val="tx1"/>
                </a:solidFill>
                <a:latin typeface="Segoe UI Semibold" charset="0"/>
                <a:ea typeface="Segoe UI Semibold" charset="0"/>
                <a:cs typeface="Segoe UI Semibold" charset="0"/>
              </a:defRPr>
            </a:lvl1pPr>
          </a:lstStyle>
          <a:p>
            <a:r>
              <a:rPr lang="en-US" dirty="0"/>
              <a:t>Demo</a:t>
            </a:r>
          </a:p>
        </p:txBody>
      </p:sp>
      <p:sp>
        <p:nvSpPr>
          <p:cNvPr id="24" name="Shape 78">
            <a:extLst>
              <a:ext uri="{FF2B5EF4-FFF2-40B4-BE49-F238E27FC236}">
                <a16:creationId xmlns:a16="http://schemas.microsoft.com/office/drawing/2014/main" id="{BAAE8EAD-16BA-4B71-B2FF-661EA6C64800}"/>
              </a:ext>
            </a:extLst>
          </p:cNvPr>
          <p:cNvSpPr txBox="1">
            <a:spLocks noGrp="1"/>
          </p:cNvSpPr>
          <p:nvPr>
            <p:ph type="body" idx="7" hasCustomPrompt="1"/>
          </p:nvPr>
        </p:nvSpPr>
        <p:spPr>
          <a:xfrm>
            <a:off x="457200" y="3581432"/>
            <a:ext cx="10553700" cy="424771"/>
          </a:xfrm>
          <a:prstGeom prst="rect">
            <a:avLst/>
          </a:prstGeom>
        </p:spPr>
        <p:txBody>
          <a:bodyPr vert="horz" lIns="0" tIns="0" rIns="0" bIns="0" rtlCol="0" anchor="t" anchorCtr="0">
            <a:noAutofit/>
          </a:bodyPr>
          <a:lstStyle>
            <a:lvl1pPr marL="457027" indent="-457027">
              <a:buFont typeface="+mj-lt"/>
              <a:buNone/>
              <a:defRPr sz="2800" b="1" i="0" dirty="0">
                <a:solidFill>
                  <a:schemeClr val="accent2"/>
                </a:solidFill>
                <a:latin typeface="Segoe UI Semibold" charset="0"/>
                <a:ea typeface="Segoe UI Semibold" charset="0"/>
                <a:cs typeface="Segoe UI Semibold" charset="0"/>
              </a:defRPr>
            </a:lvl1pPr>
          </a:lstStyle>
          <a:p>
            <a:pPr marL="0" lvl="0" indent="0"/>
            <a:r>
              <a:rPr lang="en-US" dirty="0"/>
              <a:t>Click to edit Master text styles</a:t>
            </a:r>
          </a:p>
        </p:txBody>
      </p:sp>
      <p:sp>
        <p:nvSpPr>
          <p:cNvPr id="26" name="Text Placeholder 2">
            <a:extLst>
              <a:ext uri="{FF2B5EF4-FFF2-40B4-BE49-F238E27FC236}">
                <a16:creationId xmlns:a16="http://schemas.microsoft.com/office/drawing/2014/main" id="{01413CC7-FF34-4272-956B-B08BCBB287FE}"/>
              </a:ext>
            </a:extLst>
          </p:cNvPr>
          <p:cNvSpPr>
            <a:spLocks noGrp="1"/>
          </p:cNvSpPr>
          <p:nvPr>
            <p:ph type="body" sz="quarter" idx="25" hasCustomPrompt="1"/>
          </p:nvPr>
        </p:nvSpPr>
        <p:spPr>
          <a:xfrm>
            <a:off x="457200" y="5372100"/>
            <a:ext cx="3773917" cy="611962"/>
          </a:xfrm>
          <a:prstGeom prst="rect">
            <a:avLst/>
          </a:prstGeom>
        </p:spPr>
        <p:txBody>
          <a:bodyPr/>
          <a:lstStyle>
            <a:lvl1pPr>
              <a:defRPr sz="2800" b="1" i="0">
                <a:solidFill>
                  <a:schemeClr val="tx1"/>
                </a:solidFill>
                <a:latin typeface="Segoe UI Semibold" charset="0"/>
                <a:ea typeface="Segoe UI Semibold" charset="0"/>
                <a:cs typeface="Segoe UI Semibold" charset="0"/>
              </a:defRPr>
            </a:lvl1pPr>
          </a:lstStyle>
          <a:p>
            <a:pPr lvl="0"/>
            <a:r>
              <a:rPr lang="en-US" dirty="0"/>
              <a:t>Speaker</a:t>
            </a:r>
          </a:p>
        </p:txBody>
      </p:sp>
      <p:sp>
        <p:nvSpPr>
          <p:cNvPr id="27" name="Text Placeholder 2">
            <a:extLst>
              <a:ext uri="{FF2B5EF4-FFF2-40B4-BE49-F238E27FC236}">
                <a16:creationId xmlns:a16="http://schemas.microsoft.com/office/drawing/2014/main" id="{7FC9AA33-9990-4126-B01B-6E5F8AB46A1D}"/>
              </a:ext>
            </a:extLst>
          </p:cNvPr>
          <p:cNvSpPr>
            <a:spLocks noGrp="1"/>
          </p:cNvSpPr>
          <p:nvPr>
            <p:ph type="body" sz="quarter" idx="26" hasCustomPrompt="1"/>
          </p:nvPr>
        </p:nvSpPr>
        <p:spPr>
          <a:xfrm>
            <a:off x="457200" y="5678177"/>
            <a:ext cx="3773917" cy="488866"/>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dirty="0"/>
              <a:t>Speaker title</a:t>
            </a:r>
          </a:p>
        </p:txBody>
      </p:sp>
      <p:sp>
        <p:nvSpPr>
          <p:cNvPr id="2" name="Slide Number Placeholder 1">
            <a:extLst>
              <a:ext uri="{FF2B5EF4-FFF2-40B4-BE49-F238E27FC236}">
                <a16:creationId xmlns:a16="http://schemas.microsoft.com/office/drawing/2014/main" id="{FB2C2356-D61D-0A43-A1C6-D11A93A3A509}"/>
              </a:ext>
            </a:extLst>
          </p:cNvPr>
          <p:cNvSpPr>
            <a:spLocks noGrp="1"/>
          </p:cNvSpPr>
          <p:nvPr>
            <p:ph type="sldNum" sz="quarter" idx="27"/>
          </p:nvPr>
        </p:nvSpPr>
        <p:spPr/>
        <p:txBody>
          <a:bodyPr/>
          <a:lstStyle/>
          <a:p>
            <a:fld id="{342CE631-D64F-40A6-959C-05AB2D65FE46}" type="slidenum">
              <a:rPr lang="en-US" smtClean="0"/>
              <a:t>‹#›</a:t>
            </a:fld>
            <a:endParaRPr lang="en-US"/>
          </a:p>
        </p:txBody>
      </p:sp>
      <p:sp>
        <p:nvSpPr>
          <p:cNvPr id="8" name="MSIPCM914a47ef9da007a5f5ca1e01" descr="{&quot;HashCode&quot;:-1634785317,&quot;Placement&quot;:&quot;Footer&quot;,&quot;Top&quot;:519.343,&quot;Left&quot;:0.0,&quot;SlideWidth&quot;:960,&quot;SlideHeight&quot;:540}">
            <a:extLst>
              <a:ext uri="{FF2B5EF4-FFF2-40B4-BE49-F238E27FC236}">
                <a16:creationId xmlns:a16="http://schemas.microsoft.com/office/drawing/2014/main" id="{5A3DB5A4-3B39-4F7C-A696-23A2A8A963EE}"/>
              </a:ext>
            </a:extLst>
          </p:cNvPr>
          <p:cNvSpPr txBox="1"/>
          <p:nvPr/>
        </p:nvSpPr>
        <p:spPr>
          <a:xfrm>
            <a:off x="1" y="6649883"/>
            <a:ext cx="2123853" cy="153888"/>
          </a:xfrm>
          <a:prstGeom prst="rect">
            <a:avLst/>
          </a:prstGeom>
        </p:spPr>
        <p:txBody>
          <a:bodyPr vert="horz" wrap="square" lIns="0" tIns="0" rIns="0" bIns="0" rtlCol="0" anchor="ctr" anchorCtr="1">
            <a:spAutoFit/>
          </a:bodyPr>
          <a:lstStyle/>
          <a:p>
            <a:pPr algn="l">
              <a:spcBef>
                <a:spcPts val="0"/>
              </a:spcBef>
              <a:spcAft>
                <a:spcPts val="0"/>
              </a:spcAft>
            </a:pPr>
            <a:r>
              <a:rPr lang="en-US" sz="1000">
                <a:solidFill>
                  <a:schemeClr val="accent6"/>
                </a:solidFill>
                <a:latin typeface="Calibri" panose="020F0502020204030204" pitchFamily="34" charset="0"/>
              </a:rPr>
              <a:t>Classified as Microsoft Confidential</a:t>
            </a:r>
          </a:p>
        </p:txBody>
      </p:sp>
    </p:spTree>
    <p:extLst>
      <p:ext uri="{BB962C8B-B14F-4D97-AF65-F5344CB8AC3E}">
        <p14:creationId xmlns:p14="http://schemas.microsoft.com/office/powerpoint/2010/main" val="31922733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0805082"/>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8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DE20FB-D5C9-44C8-9315-B34B9B31CF3D}"/>
              </a:ext>
            </a:extLst>
          </p:cNvPr>
          <p:cNvSpPr>
            <a:spLocks noGrp="1"/>
          </p:cNvSpPr>
          <p:nvPr>
            <p:ph type="dt" sz="half" idx="10"/>
          </p:nvPr>
        </p:nvSpPr>
        <p:spPr/>
        <p:txBody>
          <a:bodyPr/>
          <a:lstStyle/>
          <a:p>
            <a:fld id="{D209D745-82CA-4567-8C7D-E682255DBDA9}" type="datetimeFigureOut">
              <a:rPr lang="en-US" smtClean="0"/>
              <a:t>3/29/2021</a:t>
            </a:fld>
            <a:endParaRPr lang="en-US"/>
          </a:p>
        </p:txBody>
      </p:sp>
      <p:sp>
        <p:nvSpPr>
          <p:cNvPr id="3" name="Footer Placeholder 2">
            <a:extLst>
              <a:ext uri="{FF2B5EF4-FFF2-40B4-BE49-F238E27FC236}">
                <a16:creationId xmlns:a16="http://schemas.microsoft.com/office/drawing/2014/main" id="{E29127E7-FF9B-4E50-91FB-FA4C23DC7A4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8ADFC21-3921-4672-B858-EFA3F4D4D758}"/>
              </a:ext>
            </a:extLst>
          </p:cNvPr>
          <p:cNvSpPr>
            <a:spLocks noGrp="1"/>
          </p:cNvSpPr>
          <p:nvPr>
            <p:ph type="sldNum" sz="quarter" idx="12"/>
          </p:nvPr>
        </p:nvSpPr>
        <p:spPr/>
        <p:txBody>
          <a:bodyPr/>
          <a:lstStyle/>
          <a:p>
            <a:fld id="{A86CC0C0-3DF2-4BF0-ABDD-17A8E304AB84}" type="slidenum">
              <a:rPr lang="en-US" smtClean="0"/>
              <a:t>‹#›</a:t>
            </a:fld>
            <a:endParaRPr lang="en-US"/>
          </a:p>
        </p:txBody>
      </p:sp>
    </p:spTree>
    <p:extLst>
      <p:ext uri="{BB962C8B-B14F-4D97-AF65-F5344CB8AC3E}">
        <p14:creationId xmlns:p14="http://schemas.microsoft.com/office/powerpoint/2010/main" val="3845592228"/>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157254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7940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4" strike="noStrike" spc="-49" baseline="0">
                <a:solidFill>
                  <a:schemeClr val="tx2"/>
                </a:solidFill>
              </a:defRPr>
            </a:lvl1pPr>
          </a:lstStyle>
          <a:p>
            <a:r>
              <a:rPr lang="en-US"/>
              <a:t>Microsoft </a:t>
            </a:r>
            <a:r>
              <a:rPr lang="en-US" err="1"/>
              <a:t>IoT</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1"/>
            </a:lvl3pPr>
            <a:lvl4pPr>
              <a:defRPr sz="1371"/>
            </a:lvl4pPr>
            <a:lvl5pPr>
              <a:defRPr sz="1028"/>
            </a:lvl5pPr>
          </a:lstStyle>
          <a:p>
            <a:pPr lvl="0"/>
            <a:r>
              <a:rPr lang="en-US"/>
              <a:t>Author name</a:t>
            </a:r>
          </a:p>
          <a:p>
            <a:pPr lvl="1"/>
            <a:r>
              <a:rPr lang="en-US"/>
              <a:t>Date</a:t>
            </a:r>
          </a:p>
        </p:txBody>
      </p:sp>
      <p:pic>
        <p:nvPicPr>
          <p:cNvPr id="2" name="Picture 1">
            <a:extLst>
              <a:ext uri="{FF2B5EF4-FFF2-40B4-BE49-F238E27FC236}">
                <a16:creationId xmlns:a16="http://schemas.microsoft.com/office/drawing/2014/main" id="{7B7211F8-4DBB-F148-9213-1CD906B157A9}"/>
              </a:ext>
            </a:extLst>
          </p:cNvPr>
          <p:cNvPicPr>
            <a:picLocks noChangeAspect="1"/>
          </p:cNvPicPr>
          <p:nvPr userDrawn="1"/>
        </p:nvPicPr>
        <p:blipFill>
          <a:blip r:embed="rId2"/>
          <a:stretch>
            <a:fillRect/>
          </a:stretch>
        </p:blipFill>
        <p:spPr>
          <a:xfrm>
            <a:off x="406790" y="406526"/>
            <a:ext cx="958677" cy="211686"/>
          </a:xfrm>
          <a:prstGeom prst="rect">
            <a:avLst/>
          </a:prstGeom>
        </p:spPr>
      </p:pic>
    </p:spTree>
    <p:extLst>
      <p:ext uri="{BB962C8B-B14F-4D97-AF65-F5344CB8AC3E}">
        <p14:creationId xmlns:p14="http://schemas.microsoft.com/office/powerpoint/2010/main" val="2704729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4" strike="noStrike" spc="-49" baseline="0">
                <a:solidFill>
                  <a:schemeClr val="bg1"/>
                </a:solidFill>
              </a:defRPr>
            </a:lvl1pPr>
          </a:lstStyle>
          <a:p>
            <a:r>
              <a:rPr lang="en-US"/>
              <a:t>Microsoft </a:t>
            </a:r>
            <a:r>
              <a:rPr lang="en-US" err="1"/>
              <a:t>IoT</a:t>
            </a:r>
            <a:br>
              <a:rPr lang="en-US"/>
            </a:br>
            <a:r>
              <a:rPr lang="en-US"/>
              <a:t>title or event name</a:t>
            </a:r>
          </a:p>
        </p:txBody>
      </p:sp>
      <p:pic>
        <p:nvPicPr>
          <p:cNvPr id="2" name="Picture 1">
            <a:extLst>
              <a:ext uri="{FF2B5EF4-FFF2-40B4-BE49-F238E27FC236}">
                <a16:creationId xmlns:a16="http://schemas.microsoft.com/office/drawing/2014/main" id="{D5788672-4E4F-384F-BC06-960DD2B92DCE}"/>
              </a:ext>
            </a:extLst>
          </p:cNvPr>
          <p:cNvPicPr>
            <a:picLocks noChangeAspect="1"/>
          </p:cNvPicPr>
          <p:nvPr userDrawn="1"/>
        </p:nvPicPr>
        <p:blipFill>
          <a:blip r:embed="rId2"/>
          <a:stretch>
            <a:fillRect/>
          </a:stretch>
        </p:blipFill>
        <p:spPr>
          <a:xfrm>
            <a:off x="407392" y="405703"/>
            <a:ext cx="958677" cy="211686"/>
          </a:xfrm>
          <a:prstGeom prst="rect">
            <a:avLst/>
          </a:prstGeom>
        </p:spPr>
      </p:pic>
    </p:spTree>
    <p:extLst>
      <p:ext uri="{BB962C8B-B14F-4D97-AF65-F5344CB8AC3E}">
        <p14:creationId xmlns:p14="http://schemas.microsoft.com/office/powerpoint/2010/main" val="32958733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1_Title Slide 3 ">
    <p:bg>
      <p:bgPr>
        <a:solidFill>
          <a:schemeClr val="accent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0FF96BB-AF6E-5740-BF45-B6600B6FB46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952" y="0"/>
            <a:ext cx="12160097" cy="6858000"/>
          </a:xfrm>
          <a:prstGeom prst="rect">
            <a:avLst/>
          </a:prstGeom>
        </p:spPr>
      </p:pic>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4" strike="noStrike" spc="-49" baseline="0">
                <a:solidFill>
                  <a:schemeClr val="bg1"/>
                </a:solidFill>
              </a:defRPr>
            </a:lvl1pPr>
          </a:lstStyle>
          <a:p>
            <a:r>
              <a:rPr lang="en-US"/>
              <a:t>Microsoft </a:t>
            </a:r>
            <a:r>
              <a:rPr lang="en-US" err="1"/>
              <a:t>IoT</a:t>
            </a:r>
            <a:r>
              <a:rPr lang="en-US"/>
              <a:t> title or event name</a:t>
            </a:r>
          </a:p>
        </p:txBody>
      </p:sp>
      <p:pic>
        <p:nvPicPr>
          <p:cNvPr id="14" name="Picture 13">
            <a:extLst>
              <a:ext uri="{FF2B5EF4-FFF2-40B4-BE49-F238E27FC236}">
                <a16:creationId xmlns:a16="http://schemas.microsoft.com/office/drawing/2014/main" id="{B05DEBAC-6A58-FF49-B5E5-237C6F450AF9}"/>
              </a:ext>
            </a:extLst>
          </p:cNvPr>
          <p:cNvPicPr>
            <a:picLocks noChangeAspect="1"/>
          </p:cNvPicPr>
          <p:nvPr userDrawn="1"/>
        </p:nvPicPr>
        <p:blipFill>
          <a:blip r:embed="rId3"/>
          <a:stretch>
            <a:fillRect/>
          </a:stretch>
        </p:blipFill>
        <p:spPr>
          <a:xfrm>
            <a:off x="407392" y="405703"/>
            <a:ext cx="958677" cy="211686"/>
          </a:xfrm>
          <a:prstGeom prst="rect">
            <a:avLst/>
          </a:prstGeom>
        </p:spPr>
      </p:pic>
    </p:spTree>
    <p:extLst>
      <p:ext uri="{BB962C8B-B14F-4D97-AF65-F5344CB8AC3E}">
        <p14:creationId xmlns:p14="http://schemas.microsoft.com/office/powerpoint/2010/main" val="3870889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7D9530F-1AE6-D546-884F-8D088BF19FC6}"/>
              </a:ext>
            </a:extLst>
          </p:cNvPr>
          <p:cNvPicPr>
            <a:picLocks noChangeAspect="1"/>
          </p:cNvPicPr>
          <p:nvPr userDrawn="1"/>
        </p:nvPicPr>
        <p:blipFill rotWithShape="1">
          <a:blip>
            <a:extLst>
              <a:ext uri="{28A0092B-C50C-407E-A947-70E740481C1C}">
                <a14:useLocalDpi xmlns:a14="http://schemas.microsoft.com/office/drawing/2010/main" val="0"/>
              </a:ext>
            </a:extLst>
          </a:blip>
          <a:srcRect t="15637"/>
          <a:stretch/>
        </p:blipFill>
        <p:spPr>
          <a:xfrm>
            <a:off x="0" y="0"/>
            <a:ext cx="12192000" cy="6858000"/>
          </a:xfrm>
          <a:prstGeom prst="rect">
            <a:avLst/>
          </a:prstGeom>
        </p:spPr>
      </p:pic>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1"/>
            </a:lvl3pPr>
            <a:lvl4pPr>
              <a:defRPr sz="1371"/>
            </a:lvl4pPr>
            <a:lvl5pPr>
              <a:defRPr sz="1028"/>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4" strike="noStrike" spc="-49" baseline="0">
                <a:solidFill>
                  <a:schemeClr val="tx2"/>
                </a:solidFill>
              </a:defRPr>
            </a:lvl1pPr>
          </a:lstStyle>
          <a:p>
            <a:r>
              <a:rPr lang="en-US"/>
              <a:t>Microsoft </a:t>
            </a:r>
            <a:r>
              <a:rPr lang="en-US" err="1"/>
              <a:t>IoT</a:t>
            </a:r>
            <a:r>
              <a:rPr lang="en-US"/>
              <a:t> title or event name</a:t>
            </a:r>
          </a:p>
        </p:txBody>
      </p:sp>
      <p:pic>
        <p:nvPicPr>
          <p:cNvPr id="2" name="Picture 1">
            <a:extLst>
              <a:ext uri="{FF2B5EF4-FFF2-40B4-BE49-F238E27FC236}">
                <a16:creationId xmlns:a16="http://schemas.microsoft.com/office/drawing/2014/main" id="{6847F158-6392-E149-AFD6-49796C5D3697}"/>
              </a:ext>
            </a:extLst>
          </p:cNvPr>
          <p:cNvPicPr>
            <a:picLocks noChangeAspect="1"/>
          </p:cNvPicPr>
          <p:nvPr userDrawn="1"/>
        </p:nvPicPr>
        <p:blipFill>
          <a:blip r:embed="rId2"/>
          <a:stretch>
            <a:fillRect/>
          </a:stretch>
        </p:blipFill>
        <p:spPr>
          <a:xfrm>
            <a:off x="428682" y="406525"/>
            <a:ext cx="958677" cy="211686"/>
          </a:xfrm>
          <a:prstGeom prst="rect">
            <a:avLst/>
          </a:prstGeom>
        </p:spPr>
      </p:pic>
    </p:spTree>
    <p:extLst>
      <p:ext uri="{BB962C8B-B14F-4D97-AF65-F5344CB8AC3E}">
        <p14:creationId xmlns:p14="http://schemas.microsoft.com/office/powerpoint/2010/main" val="2273220840"/>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312711704"/>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07" indent="0">
              <a:buNone/>
              <a:defRPr/>
            </a:lvl3pPr>
            <a:lvl4pPr marL="672161" indent="0">
              <a:buNone/>
              <a:defRPr/>
            </a:lvl4pPr>
            <a:lvl5pPr marL="89621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9"/>
            <a:ext cx="11306469" cy="443839"/>
          </a:xfr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07" indent="0">
              <a:buNone/>
              <a:defRPr/>
            </a:lvl3pPr>
            <a:lvl4pPr marL="672161"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957928135"/>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1_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9"/>
            <a:ext cx="3618381" cy="2675220"/>
          </a:xfr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241581709"/>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1_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413013690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1050326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1_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9"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874334617"/>
      </p:ext>
    </p:extLst>
  </p:cSld>
  <p:clrMapOvr>
    <a:masterClrMapping/>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1_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9"/>
            <a:ext cx="1693247" cy="2817053"/>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987582263"/>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396291"/>
            <a:ext cx="11280012"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055925743"/>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752798400"/>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1_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4" spc="-49" baseline="0"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3061945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1_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693486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309258672"/>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1_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116307666"/>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1_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067" indent="-280067">
              <a:lnSpc>
                <a:spcPts val="1765"/>
              </a:lnSpc>
              <a:spcBef>
                <a:spcPts val="0"/>
              </a:spcBef>
              <a:buFont typeface="Arial" panose="020B0604020202020204" pitchFamily="34" charset="0"/>
              <a:buChar char="•"/>
              <a:defRPr sz="1371" b="0" i="0" spc="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531899796"/>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1_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06807166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64687310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243000981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1_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132517403"/>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1_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5"/>
              </a:lnSpc>
              <a:spcBef>
                <a:spcPts val="882"/>
              </a:spcBef>
              <a:buFont typeface="Arial" panose="020B0604020202020204" pitchFamily="34" charset="0"/>
              <a:buNone/>
              <a:defRPr sz="980" b="0" i="0" spc="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749787860"/>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p:cSld name="1_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081393036"/>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1_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2" name="Picture 1">
            <a:extLst>
              <a:ext uri="{FF2B5EF4-FFF2-40B4-BE49-F238E27FC236}">
                <a16:creationId xmlns:a16="http://schemas.microsoft.com/office/drawing/2014/main" id="{085186FC-0D32-394B-A766-D567AE5C4DA4}"/>
              </a:ext>
            </a:extLst>
          </p:cNvPr>
          <p:cNvPicPr>
            <a:picLocks noChangeAspect="1"/>
          </p:cNvPicPr>
          <p:nvPr userDrawn="1"/>
        </p:nvPicPr>
        <p:blipFill>
          <a:blip r:embed="rId2"/>
          <a:stretch>
            <a:fillRect/>
          </a:stretch>
        </p:blipFill>
        <p:spPr>
          <a:xfrm>
            <a:off x="454171" y="281689"/>
            <a:ext cx="958677" cy="211686"/>
          </a:xfrm>
          <a:prstGeom prst="rect">
            <a:avLst/>
          </a:prstGeom>
        </p:spPr>
      </p:pic>
    </p:spTree>
    <p:extLst>
      <p:ext uri="{BB962C8B-B14F-4D97-AF65-F5344CB8AC3E}">
        <p14:creationId xmlns:p14="http://schemas.microsoft.com/office/powerpoint/2010/main" val="12808481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4.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7" name="Freeform: Shape 6" descr="Tag=AccentColor&#10;Flavor=Light&#10;Target=Fill">
            <a:extLst>
              <a:ext uri="{FF2B5EF4-FFF2-40B4-BE49-F238E27FC236}">
                <a16:creationId xmlns:a16="http://schemas.microsoft.com/office/drawing/2014/main" id="{13B7BB51-92B8-4089-8DAB-1202A4D1C6A3}"/>
              </a:ext>
            </a:extLst>
          </p:cNvPr>
          <p:cNvSpPr/>
          <p:nvPr/>
        </p:nvSpPr>
        <p:spPr>
          <a:xfrm flipH="1">
            <a:off x="3" y="315111"/>
            <a:ext cx="3021543" cy="1435442"/>
          </a:xfrm>
          <a:custGeom>
            <a:avLst/>
            <a:gdLst>
              <a:gd name="connsiteX0" fmla="*/ 3021543 w 3021543"/>
              <a:gd name="connsiteY0" fmla="*/ 0 h 1435442"/>
              <a:gd name="connsiteX1" fmla="*/ 2963800 w 3021543"/>
              <a:gd name="connsiteY1" fmla="*/ 7242 h 1435442"/>
              <a:gd name="connsiteX2" fmla="*/ 2793803 w 3021543"/>
              <a:gd name="connsiteY2" fmla="*/ 24082 h 1435442"/>
              <a:gd name="connsiteX3" fmla="*/ 2414348 w 3021543"/>
              <a:gd name="connsiteY3" fmla="*/ 29696 h 1435442"/>
              <a:gd name="connsiteX4" fmla="*/ 2091558 w 3021543"/>
              <a:gd name="connsiteY4" fmla="*/ 27450 h 1435442"/>
              <a:gd name="connsiteX5" fmla="*/ 1645319 w 3021543"/>
              <a:gd name="connsiteY5" fmla="*/ 28573 h 1435442"/>
              <a:gd name="connsiteX6" fmla="*/ 1243602 w 3021543"/>
              <a:gd name="connsiteY6" fmla="*/ 60008 h 1435442"/>
              <a:gd name="connsiteX7" fmla="*/ 753851 w 3021543"/>
              <a:gd name="connsiteY7" fmla="*/ 57763 h 1435442"/>
              <a:gd name="connsiteX8" fmla="*/ 465465 w 3021543"/>
              <a:gd name="connsiteY8" fmla="*/ 116142 h 1435442"/>
              <a:gd name="connsiteX9" fmla="*/ 546416 w 3021543"/>
              <a:gd name="connsiteY9" fmla="*/ 136351 h 1435442"/>
              <a:gd name="connsiteX10" fmla="*/ 689091 w 3021543"/>
              <a:gd name="connsiteY10" fmla="*/ 180136 h 1435442"/>
              <a:gd name="connsiteX11" fmla="*/ 704269 w 3021543"/>
              <a:gd name="connsiteY11" fmla="*/ 208203 h 1435442"/>
              <a:gd name="connsiteX12" fmla="*/ 683020 w 3021543"/>
              <a:gd name="connsiteY12" fmla="*/ 221675 h 1435442"/>
              <a:gd name="connsiteX13" fmla="*/ 621295 w 3021543"/>
              <a:gd name="connsiteY13" fmla="*/ 247496 h 1435442"/>
              <a:gd name="connsiteX14" fmla="*/ 848968 w 3021543"/>
              <a:gd name="connsiteY14" fmla="*/ 285668 h 1435442"/>
              <a:gd name="connsiteX15" fmla="*/ 768018 w 3021543"/>
              <a:gd name="connsiteY15" fmla="*/ 309244 h 1435442"/>
              <a:gd name="connsiteX16" fmla="*/ 684032 w 3021543"/>
              <a:gd name="connsiteY16" fmla="*/ 326085 h 1435442"/>
              <a:gd name="connsiteX17" fmla="*/ 592962 w 3021543"/>
              <a:gd name="connsiteY17" fmla="*/ 338434 h 1435442"/>
              <a:gd name="connsiteX18" fmla="*/ 509988 w 3021543"/>
              <a:gd name="connsiteY18" fmla="*/ 363133 h 1435442"/>
              <a:gd name="connsiteX19" fmla="*/ 726531 w 3021543"/>
              <a:gd name="connsiteY19" fmla="*/ 373237 h 1435442"/>
              <a:gd name="connsiteX20" fmla="*/ 614212 w 3021543"/>
              <a:gd name="connsiteY20" fmla="*/ 395691 h 1435442"/>
              <a:gd name="connsiteX21" fmla="*/ 522131 w 3021543"/>
              <a:gd name="connsiteY21" fmla="*/ 424881 h 1435442"/>
              <a:gd name="connsiteX22" fmla="*/ 457370 w 3021543"/>
              <a:gd name="connsiteY22" fmla="*/ 438353 h 1435442"/>
              <a:gd name="connsiteX23" fmla="*/ 388562 w 3021543"/>
              <a:gd name="connsiteY23" fmla="*/ 441721 h 1435442"/>
              <a:gd name="connsiteX24" fmla="*/ 372372 w 3021543"/>
              <a:gd name="connsiteY24" fmla="*/ 463052 h 1435442"/>
              <a:gd name="connsiteX25" fmla="*/ 393622 w 3021543"/>
              <a:gd name="connsiteY25" fmla="*/ 485506 h 1435442"/>
              <a:gd name="connsiteX26" fmla="*/ 426002 w 3021543"/>
              <a:gd name="connsiteY26" fmla="*/ 487751 h 1435442"/>
              <a:gd name="connsiteX27" fmla="*/ 619271 w 3021543"/>
              <a:gd name="connsiteY27" fmla="*/ 493365 h 1435442"/>
              <a:gd name="connsiteX28" fmla="*/ 0 w 3021543"/>
              <a:gd name="connsiteY28" fmla="*/ 542762 h 1435442"/>
              <a:gd name="connsiteX29" fmla="*/ 83986 w 3021543"/>
              <a:gd name="connsiteY29" fmla="*/ 573075 h 1435442"/>
              <a:gd name="connsiteX30" fmla="*/ 112319 w 3021543"/>
              <a:gd name="connsiteY30" fmla="*/ 656154 h 1435442"/>
              <a:gd name="connsiteX31" fmla="*/ 215531 w 3021543"/>
              <a:gd name="connsiteY31" fmla="*/ 703306 h 1435442"/>
              <a:gd name="connsiteX32" fmla="*/ 282315 w 3021543"/>
              <a:gd name="connsiteY32" fmla="*/ 720147 h 1435442"/>
              <a:gd name="connsiteX33" fmla="*/ 435109 w 3021543"/>
              <a:gd name="connsiteY33" fmla="*/ 744846 h 1435442"/>
              <a:gd name="connsiteX34" fmla="*/ 457370 w 3021543"/>
              <a:gd name="connsiteY34" fmla="*/ 785263 h 1435442"/>
              <a:gd name="connsiteX35" fmla="*/ 476596 w 3021543"/>
              <a:gd name="connsiteY35" fmla="*/ 830170 h 1435442"/>
              <a:gd name="connsiteX36" fmla="*/ 517071 w 3021543"/>
              <a:gd name="connsiteY36" fmla="*/ 859360 h 1435442"/>
              <a:gd name="connsiteX37" fmla="*/ 202377 w 3021543"/>
              <a:gd name="connsiteY37" fmla="*/ 854869 h 1435442"/>
              <a:gd name="connsiteX38" fmla="*/ 557546 w 3021543"/>
              <a:gd name="connsiteY38" fmla="*/ 949175 h 1435442"/>
              <a:gd name="connsiteX39" fmla="*/ 526178 w 3021543"/>
              <a:gd name="connsiteY39" fmla="*/ 986223 h 1435442"/>
              <a:gd name="connsiteX40" fmla="*/ 720459 w 3021543"/>
              <a:gd name="connsiteY40" fmla="*/ 1036744 h 1435442"/>
              <a:gd name="connsiteX41" fmla="*/ 616236 w 3021543"/>
              <a:gd name="connsiteY41" fmla="*/ 1042357 h 1435442"/>
              <a:gd name="connsiteX42" fmla="*/ 1222353 w 3021543"/>
              <a:gd name="connsiteY42" fmla="*/ 1253422 h 1435442"/>
              <a:gd name="connsiteX43" fmla="*/ 2087511 w 3021543"/>
              <a:gd name="connsiteY43" fmla="*/ 1406107 h 1435442"/>
              <a:gd name="connsiteX44" fmla="*/ 2425479 w 3021543"/>
              <a:gd name="connsiteY44" fmla="*/ 1435297 h 1435442"/>
              <a:gd name="connsiteX45" fmla="*/ 2809994 w 3021543"/>
              <a:gd name="connsiteY45" fmla="*/ 1426315 h 1435442"/>
              <a:gd name="connsiteX46" fmla="*/ 2953618 w 3021543"/>
              <a:gd name="connsiteY46" fmla="*/ 1417071 h 1435442"/>
              <a:gd name="connsiteX47" fmla="*/ 3021543 w 3021543"/>
              <a:gd name="connsiteY47" fmla="*/ 1407897 h 1435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021543" h="1435442">
                <a:moveTo>
                  <a:pt x="3021543" y="0"/>
                </a:moveTo>
                <a:lnTo>
                  <a:pt x="2963800" y="7242"/>
                </a:lnTo>
                <a:cubicBezTo>
                  <a:pt x="2907134" y="13978"/>
                  <a:pt x="2850469" y="22960"/>
                  <a:pt x="2793803" y="24082"/>
                </a:cubicBezTo>
                <a:cubicBezTo>
                  <a:pt x="2667318" y="27450"/>
                  <a:pt x="2539821" y="19592"/>
                  <a:pt x="2414348" y="29696"/>
                </a:cubicBezTo>
                <a:cubicBezTo>
                  <a:pt x="2307089" y="38677"/>
                  <a:pt x="2198818" y="28573"/>
                  <a:pt x="2091558" y="27450"/>
                </a:cubicBezTo>
                <a:cubicBezTo>
                  <a:pt x="1942812" y="26328"/>
                  <a:pt x="1793053" y="18469"/>
                  <a:pt x="1645319" y="28573"/>
                </a:cubicBezTo>
                <a:cubicBezTo>
                  <a:pt x="1510738" y="36432"/>
                  <a:pt x="1376158" y="38677"/>
                  <a:pt x="1243602" y="60008"/>
                </a:cubicBezTo>
                <a:cubicBezTo>
                  <a:pt x="1079677" y="71235"/>
                  <a:pt x="916765" y="64499"/>
                  <a:pt x="753851" y="57763"/>
                </a:cubicBezTo>
                <a:cubicBezTo>
                  <a:pt x="653675" y="53272"/>
                  <a:pt x="554511" y="38677"/>
                  <a:pt x="465465" y="116142"/>
                </a:cubicBezTo>
                <a:cubicBezTo>
                  <a:pt x="489751" y="134105"/>
                  <a:pt x="519095" y="130737"/>
                  <a:pt x="546416" y="136351"/>
                </a:cubicBezTo>
                <a:cubicBezTo>
                  <a:pt x="594986" y="147578"/>
                  <a:pt x="643557" y="158804"/>
                  <a:pt x="689091" y="180136"/>
                </a:cubicBezTo>
                <a:cubicBezTo>
                  <a:pt x="699210" y="184626"/>
                  <a:pt x="708317" y="193608"/>
                  <a:pt x="704269" y="208203"/>
                </a:cubicBezTo>
                <a:cubicBezTo>
                  <a:pt x="701234" y="219430"/>
                  <a:pt x="691115" y="219430"/>
                  <a:pt x="683020" y="221675"/>
                </a:cubicBezTo>
                <a:cubicBezTo>
                  <a:pt x="664806" y="228411"/>
                  <a:pt x="642545" y="223920"/>
                  <a:pt x="621295" y="247496"/>
                </a:cubicBezTo>
                <a:cubicBezTo>
                  <a:pt x="702245" y="259846"/>
                  <a:pt x="780160" y="236270"/>
                  <a:pt x="848968" y="285668"/>
                </a:cubicBezTo>
                <a:cubicBezTo>
                  <a:pt x="823671" y="310367"/>
                  <a:pt x="795339" y="304753"/>
                  <a:pt x="768018" y="309244"/>
                </a:cubicBezTo>
                <a:cubicBezTo>
                  <a:pt x="739685" y="313735"/>
                  <a:pt x="712365" y="321594"/>
                  <a:pt x="684032" y="326085"/>
                </a:cubicBezTo>
                <a:cubicBezTo>
                  <a:pt x="653675" y="331698"/>
                  <a:pt x="623319" y="332821"/>
                  <a:pt x="592962" y="338434"/>
                </a:cubicBezTo>
                <a:cubicBezTo>
                  <a:pt x="567666" y="342925"/>
                  <a:pt x="540345" y="335066"/>
                  <a:pt x="509988" y="363133"/>
                </a:cubicBezTo>
                <a:cubicBezTo>
                  <a:pt x="584867" y="383342"/>
                  <a:pt x="652663" y="353029"/>
                  <a:pt x="726531" y="373237"/>
                </a:cubicBezTo>
                <a:cubicBezTo>
                  <a:pt x="683020" y="391200"/>
                  <a:pt x="647604" y="385587"/>
                  <a:pt x="614212" y="395691"/>
                </a:cubicBezTo>
                <a:cubicBezTo>
                  <a:pt x="583855" y="405795"/>
                  <a:pt x="547428" y="394568"/>
                  <a:pt x="522131" y="424881"/>
                </a:cubicBezTo>
                <a:cubicBezTo>
                  <a:pt x="502905" y="448457"/>
                  <a:pt x="482668" y="451825"/>
                  <a:pt x="457370" y="438353"/>
                </a:cubicBezTo>
                <a:cubicBezTo>
                  <a:pt x="435109" y="426003"/>
                  <a:pt x="410824" y="429371"/>
                  <a:pt x="388562" y="441721"/>
                </a:cubicBezTo>
                <a:cubicBezTo>
                  <a:pt x="380468" y="446212"/>
                  <a:pt x="372372" y="451825"/>
                  <a:pt x="372372" y="463052"/>
                </a:cubicBezTo>
                <a:cubicBezTo>
                  <a:pt x="372372" y="478770"/>
                  <a:pt x="382491" y="483260"/>
                  <a:pt x="393622" y="485506"/>
                </a:cubicBezTo>
                <a:cubicBezTo>
                  <a:pt x="403741" y="487751"/>
                  <a:pt x="415883" y="489997"/>
                  <a:pt x="426002" y="487751"/>
                </a:cubicBezTo>
                <a:cubicBezTo>
                  <a:pt x="490762" y="475402"/>
                  <a:pt x="554511" y="495610"/>
                  <a:pt x="619271" y="493365"/>
                </a:cubicBezTo>
                <a:cubicBezTo>
                  <a:pt x="415883" y="541640"/>
                  <a:pt x="210471" y="525922"/>
                  <a:pt x="0" y="542762"/>
                </a:cubicBezTo>
                <a:cubicBezTo>
                  <a:pt x="27321" y="576443"/>
                  <a:pt x="62737" y="548376"/>
                  <a:pt x="83986" y="573075"/>
                </a:cubicBezTo>
                <a:cubicBezTo>
                  <a:pt x="63748" y="624719"/>
                  <a:pt x="71844" y="652785"/>
                  <a:pt x="112319" y="656154"/>
                </a:cubicBezTo>
                <a:cubicBezTo>
                  <a:pt x="151782" y="659522"/>
                  <a:pt x="194281" y="641559"/>
                  <a:pt x="215531" y="703306"/>
                </a:cubicBezTo>
                <a:cubicBezTo>
                  <a:pt x="221602" y="722392"/>
                  <a:pt x="259042" y="716779"/>
                  <a:pt x="282315" y="720147"/>
                </a:cubicBezTo>
                <a:cubicBezTo>
                  <a:pt x="332909" y="728005"/>
                  <a:pt x="386539" y="720147"/>
                  <a:pt x="435109" y="744846"/>
                </a:cubicBezTo>
                <a:cubicBezTo>
                  <a:pt x="454335" y="753827"/>
                  <a:pt x="467489" y="760563"/>
                  <a:pt x="457370" y="785263"/>
                </a:cubicBezTo>
                <a:cubicBezTo>
                  <a:pt x="447252" y="811084"/>
                  <a:pt x="460406" y="820066"/>
                  <a:pt x="476596" y="830170"/>
                </a:cubicBezTo>
                <a:cubicBezTo>
                  <a:pt x="488739" y="838028"/>
                  <a:pt x="506953" y="835783"/>
                  <a:pt x="517071" y="859360"/>
                </a:cubicBezTo>
                <a:cubicBezTo>
                  <a:pt x="410824" y="855992"/>
                  <a:pt x="307612" y="836906"/>
                  <a:pt x="202377" y="854869"/>
                </a:cubicBezTo>
                <a:cubicBezTo>
                  <a:pt x="317731" y="899776"/>
                  <a:pt x="444216" y="897531"/>
                  <a:pt x="557546" y="949175"/>
                </a:cubicBezTo>
                <a:cubicBezTo>
                  <a:pt x="553499" y="967137"/>
                  <a:pt x="527190" y="959278"/>
                  <a:pt x="526178" y="986223"/>
                </a:cubicBezTo>
                <a:cubicBezTo>
                  <a:pt x="585879" y="1014290"/>
                  <a:pt x="657723" y="995204"/>
                  <a:pt x="720459" y="1036744"/>
                </a:cubicBezTo>
                <a:cubicBezTo>
                  <a:pt x="684032" y="1055829"/>
                  <a:pt x="650640" y="1024394"/>
                  <a:pt x="616236" y="1042357"/>
                </a:cubicBezTo>
                <a:cubicBezTo>
                  <a:pt x="627367" y="1069302"/>
                  <a:pt x="1131283" y="1235459"/>
                  <a:pt x="1222353" y="1253422"/>
                </a:cubicBezTo>
                <a:cubicBezTo>
                  <a:pt x="1407527" y="1290470"/>
                  <a:pt x="1940788" y="1384776"/>
                  <a:pt x="2087511" y="1406107"/>
                </a:cubicBezTo>
                <a:cubicBezTo>
                  <a:pt x="2200841" y="1421824"/>
                  <a:pt x="2313160" y="1434174"/>
                  <a:pt x="2425479" y="1435297"/>
                </a:cubicBezTo>
                <a:cubicBezTo>
                  <a:pt x="2553988" y="1436419"/>
                  <a:pt x="2681485" y="1430806"/>
                  <a:pt x="2809994" y="1426315"/>
                </a:cubicBezTo>
                <a:cubicBezTo>
                  <a:pt x="2858058" y="1424631"/>
                  <a:pt x="2905933" y="1421684"/>
                  <a:pt x="2953618" y="1417071"/>
                </a:cubicBezTo>
                <a:lnTo>
                  <a:pt x="3021543" y="1407897"/>
                </a:lnTo>
                <a:close/>
              </a:path>
            </a:pathLst>
          </a:custGeom>
          <a:solidFill>
            <a:schemeClr val="accent1">
              <a:alpha val="20000"/>
            </a:schemeClr>
          </a:solidFill>
          <a:ln w="32707" cap="flat">
            <a:noFill/>
            <a:prstDash val="solid"/>
            <a:miter/>
          </a:ln>
        </p:spPr>
        <p:txBody>
          <a:bodyPr wrap="square" rtlCol="0" anchor="ctr">
            <a:noAutofit/>
          </a:bodyPr>
          <a:lstStyle/>
          <a:p>
            <a:endParaRPr lang="en-US" sz="1800"/>
          </a:p>
        </p:txBody>
      </p:sp>
      <p:sp>
        <p:nvSpPr>
          <p:cNvPr id="2" name="Title 1">
            <a:extLst>
              <a:ext uri="{FF2B5EF4-FFF2-40B4-BE49-F238E27FC236}">
                <a16:creationId xmlns:a16="http://schemas.microsoft.com/office/drawing/2014/main" id="{26030E26-A86A-417A-AA64-699AA8DD3DA5}"/>
              </a:ext>
            </a:extLst>
          </p:cNvPr>
          <p:cNvSpPr>
            <a:spLocks noGrp="1"/>
          </p:cNvSpPr>
          <p:nvPr>
            <p:ph type="title"/>
          </p:nvPr>
        </p:nvSpPr>
        <p:spPr/>
        <p:txBody>
          <a:bodyPr>
            <a:normAutofit/>
          </a:bodyPr>
          <a:lstStyle>
            <a:lvl1pPr>
              <a:defRPr sz="4000"/>
            </a:lvl1pPr>
          </a:lstStyle>
          <a:p>
            <a:r>
              <a:rPr lang="en-US"/>
              <a:t>Click to edit Master title style</a:t>
            </a:r>
          </a:p>
        </p:txBody>
      </p:sp>
      <p:sp>
        <p:nvSpPr>
          <p:cNvPr id="3" name="Content Placeholder 2">
            <a:extLst>
              <a:ext uri="{FF2B5EF4-FFF2-40B4-BE49-F238E27FC236}">
                <a16:creationId xmlns:a16="http://schemas.microsoft.com/office/drawing/2014/main" id="{D19CF97E-0E6E-41E9-B75B-0371E744D1E8}"/>
              </a:ext>
            </a:extLst>
          </p:cNvPr>
          <p:cNvSpPr>
            <a:spLocks noGrp="1"/>
          </p:cNvSpPr>
          <p:nvPr>
            <p:ph idx="1"/>
          </p:nvPr>
        </p:nvSpPr>
        <p:spPr>
          <a:xfrm>
            <a:off x="838200" y="2011681"/>
            <a:ext cx="10515600" cy="15691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BAE770-8363-44CD-8A22-AB26C5C5361B}"/>
              </a:ext>
            </a:extLst>
          </p:cNvPr>
          <p:cNvSpPr>
            <a:spLocks noGrp="1"/>
          </p:cNvSpPr>
          <p:nvPr>
            <p:ph type="dt" sz="half" idx="10"/>
          </p:nvPr>
        </p:nvSpPr>
        <p:spPr/>
        <p:txBody>
          <a:bodyPr/>
          <a:lstStyle/>
          <a:p>
            <a:fld id="{3C04E684-10F4-4CC3-A0B9-F03AA7BE37CF}" type="datetimeFigureOut">
              <a:rPr lang="en-US" smtClean="0"/>
              <a:t>3/29/2021</a:t>
            </a:fld>
            <a:endParaRPr lang="en-US"/>
          </a:p>
        </p:txBody>
      </p:sp>
      <p:sp>
        <p:nvSpPr>
          <p:cNvPr id="5" name="Footer Placeholder 4">
            <a:extLst>
              <a:ext uri="{FF2B5EF4-FFF2-40B4-BE49-F238E27FC236}">
                <a16:creationId xmlns:a16="http://schemas.microsoft.com/office/drawing/2014/main" id="{36E618F2-3B8E-4449-91E7-F8AA496093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3428F0-E5C2-42A1-AB2F-1A19FFAD19CF}"/>
              </a:ext>
            </a:extLst>
          </p:cNvPr>
          <p:cNvSpPr>
            <a:spLocks noGrp="1"/>
          </p:cNvSpPr>
          <p:nvPr>
            <p:ph type="sldNum" sz="quarter" idx="12"/>
          </p:nvPr>
        </p:nvSpPr>
        <p:spPr/>
        <p:txBody>
          <a:bodyPr/>
          <a:lstStyle/>
          <a:p>
            <a:fld id="{51845F5A-061D-4825-9AE9-D7794091C6CF}" type="slidenum">
              <a:rPr lang="en-US" smtClean="0"/>
              <a:t>‹#›</a:t>
            </a:fld>
            <a:endParaRPr lang="en-US"/>
          </a:p>
        </p:txBody>
      </p:sp>
    </p:spTree>
    <p:extLst>
      <p:ext uri="{BB962C8B-B14F-4D97-AF65-F5344CB8AC3E}">
        <p14:creationId xmlns:p14="http://schemas.microsoft.com/office/powerpoint/2010/main" val="4092772390"/>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569074"/>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6242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401988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27406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382251"/>
            <a:ext cx="11018520" cy="615553"/>
          </a:xfrm>
        </p:spPr>
        <p:txBody>
          <a:bodyPr/>
          <a:lstStyle>
            <a:lvl1pPr>
              <a:defRPr sz="4000" b="0">
                <a:solidFill>
                  <a:schemeClr val="accent2"/>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42104043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9"/>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1" y="2913306"/>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1624670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81323239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dirty="0"/>
              <a:t>Session code</a:t>
            </a:r>
          </a:p>
        </p:txBody>
      </p:sp>
    </p:spTree>
    <p:extLst>
      <p:ext uri="{BB962C8B-B14F-4D97-AF65-F5344CB8AC3E}">
        <p14:creationId xmlns:p14="http://schemas.microsoft.com/office/powerpoint/2010/main" val="22665530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7526365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668217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559666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384951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308931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470346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21282031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endParaRPr lang="en-US" dirty="0"/>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9882251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803"/>
          </a:xfrm>
        </p:spPr>
        <p:txBody>
          <a:bodyPr anchor="t"/>
          <a:lstStyle>
            <a:lvl1pPr>
              <a:defRPr sz="2800"/>
            </a:lvl1pPr>
          </a:lstStyle>
          <a:p>
            <a:r>
              <a:rPr lang="en-US" dirty="0"/>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3"/>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90206377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0361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0553648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85539043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380838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3470160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8500077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8481518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556"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1"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4079089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rgbClr val="50E6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749555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1846867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50212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70434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100294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72952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75693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637310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743075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0129781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204152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7305450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607813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39.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466191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93265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40.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62051"/>
            <a:ext cx="11022584" cy="2118016"/>
          </a:xfrm>
          <a:prstGeom prst="rect">
            <a:avLst/>
          </a:prstGeom>
          <a:noFill/>
        </p:spPr>
        <p:txBody>
          <a:bodyPr wrap="square" lIns="182854" tIns="146284" rIns="182854" bIns="14628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6" rIns="0" bIns="46616" numCol="1" rtlCol="0" anchor="ctr" anchorCtr="0" compatLnSpc="1">
            <a:prstTxWarp prst="textNoShape">
              <a:avLst/>
            </a:prstTxWarp>
          </a:bodyPr>
          <a:lstStyle/>
          <a:p>
            <a:pPr marL="0" marR="0" lvl="0" indent="0" algn="ctr" defTabSz="93193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70"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6" rIns="0" bIns="46616" numCol="1" rtlCol="0" anchor="ctr" anchorCtr="0" compatLnSpc="1">
            <a:prstTxWarp prst="textNoShape">
              <a:avLst/>
            </a:prstTxWarp>
          </a:bodyPr>
          <a:lstStyle/>
          <a:p>
            <a:pPr marR="0" lvl="0" indent="0" algn="ctr" defTabSz="931935"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6" rIns="0" bIns="46616" numCol="1" rtlCol="0" anchor="ctr" anchorCtr="0" compatLnSpc="1">
            <a:prstTxWarp prst="textNoShape">
              <a:avLst/>
            </a:prstTxWarp>
          </a:bodyPr>
          <a:lstStyle/>
          <a:p>
            <a:pPr marR="0" lvl="0" indent="0" algn="ctr" defTabSz="931935"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7"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80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225"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9"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2593956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4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612768"/>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35674" y="6571862"/>
            <a:ext cx="332065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40167">
              <a:defRPr/>
            </a:pPr>
            <a:r>
              <a:rPr lang="en-US" sz="965" spc="138">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3171660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551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54563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13732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777177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069860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54949197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1733373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Slide 2">
    <p:bg>
      <p:bgPr>
        <a:solidFill>
          <a:srgbClr val="000000"/>
        </a:solidFill>
        <a:effectLst/>
      </p:bgPr>
    </p:bg>
    <p:spTree>
      <p:nvGrpSpPr>
        <p:cNvPr id="1" name=""/>
        <p:cNvGrpSpPr/>
        <p:nvPr/>
      </p:nvGrpSpPr>
      <p:grpSpPr>
        <a:xfrm>
          <a:off x="0" y="0"/>
          <a:ext cx="0" cy="0"/>
          <a:chOff x="0" y="0"/>
          <a:chExt cx="0" cy="0"/>
        </a:xfrm>
      </p:grpSpPr>
      <p:pic>
        <p:nvPicPr>
          <p:cNvPr id="4" name="Picture 3" descr="Sunburst chart&#10;&#10;Description automatically generated with low confidence">
            <a:extLst>
              <a:ext uri="{FF2B5EF4-FFF2-40B4-BE49-F238E27FC236}">
                <a16:creationId xmlns:a16="http://schemas.microsoft.com/office/drawing/2014/main" id="{3DE4ECC8-5A63-42D5-958C-775BF858E72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18"/>
          <a:stretch/>
        </p:blipFill>
        <p:spPr>
          <a:xfrm>
            <a:off x="8875228" y="1237"/>
            <a:ext cx="3316772" cy="6858000"/>
          </a:xfrm>
          <a:prstGeom prst="rect">
            <a:avLst/>
          </a:prstGeom>
        </p:spPr>
      </p:pic>
      <p:pic>
        <p:nvPicPr>
          <p:cNvPr id="3" name="MS logo white - EMF" descr="Microsoft logo white text version">
            <a:extLst>
              <a:ext uri="{FF2B5EF4-FFF2-40B4-BE49-F238E27FC236}">
                <a16:creationId xmlns:a16="http://schemas.microsoft.com/office/drawing/2014/main" id="{09A56F85-EB04-4D1C-A56D-0789283DFF8F}"/>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44770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Picture 6">
            <a:extLst>
              <a:ext uri="{FF2B5EF4-FFF2-40B4-BE49-F238E27FC236}">
                <a16:creationId xmlns:a16="http://schemas.microsoft.com/office/drawing/2014/main" id="{FCA04CCC-89CB-4C66-9594-D1D373EF707E}"/>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1908516161"/>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a:extLst>
              <a:ext uri="{FF2B5EF4-FFF2-40B4-BE49-F238E27FC236}">
                <a16:creationId xmlns:a16="http://schemas.microsoft.com/office/drawing/2014/main" id="{C5D56A03-466A-4259-AB4C-31552B627E07}"/>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2347679166"/>
      </p:ext>
    </p:extLst>
  </p:cSld>
  <p:clrMapOvr>
    <a:masterClrMapping/>
  </p:clrMapOvr>
  <p:transition advClick="0" advTm="20000">
    <p:push dir="u"/>
  </p:transition>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ECC6C7ED-E62E-464C-BA74-D1037A08F7C8}"/>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4172740157"/>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287F7E11-4D17-48D8-A138-23D57849DF0F}"/>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3684463929"/>
      </p:ext>
    </p:extLst>
  </p:cSld>
  <p:clrMapOvr>
    <a:masterClrMapping/>
  </p:clrMapOvr>
  <p:transition advClick="0" advTm="20000">
    <p:push dir="u"/>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0581616"/>
      </p:ext>
    </p:extLst>
  </p:cSld>
  <p:clrMapOvr>
    <a:masterClrMapping/>
  </p:clrMapOvr>
  <p:transition advClick="0" advTm="20000">
    <p:push dir="u"/>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353037"/>
      </p:ext>
    </p:extLst>
  </p:cSld>
  <p:clrMapOvr>
    <a:masterClrMapping/>
  </p:clrMapOvr>
  <p:transition advClick="0" advTm="20000">
    <p:push dir="u"/>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3228781"/>
      </p:ext>
    </p:extLst>
  </p:cSld>
  <p:clrMapOvr>
    <a:masterClrMapping/>
  </p:clrMapOvr>
  <p:transition advClick="0" advTm="20000">
    <p:push dir="u"/>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7470127"/>
      </p:ext>
    </p:extLst>
  </p:cSld>
  <p:clrMapOvr>
    <a:masterClrMapping/>
  </p:clrMapOvr>
  <p:transition advClick="0" advTm="20000">
    <p:push dir="u"/>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258148704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8912371"/>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5848868"/>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38298181"/>
      </p:ext>
    </p:extLst>
  </p:cSld>
  <p:clrMapOvr>
    <a:masterClrMapping/>
  </p:clrMapOvr>
  <p:transition advClick="0" advTm="20000">
    <p:push dir="u"/>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47358803"/>
      </p:ext>
    </p:extLst>
  </p:cSld>
  <p:clrMapOvr>
    <a:masterClrMapping/>
  </p:clrMapOvr>
  <p:transition advClick="0" advTm="20000">
    <p:push dir="u"/>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36204948"/>
      </p:ext>
    </p:extLst>
  </p:cSld>
  <p:clrMapOvr>
    <a:masterClrMapping/>
  </p:clrMapOvr>
  <p:transition advClick="0" advTm="20000">
    <p:push dir="u"/>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46290513"/>
      </p:ext>
    </p:extLst>
  </p:cSld>
  <p:clrMapOvr>
    <a:masterClrMapping/>
  </p:clrMapOvr>
  <p:transition advClick="0" advTm="20000">
    <p:push dir="u"/>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94267027"/>
      </p:ext>
    </p:extLst>
  </p:cSld>
  <p:clrMapOvr>
    <a:masterClrMapping/>
  </p:clrMapOvr>
  <p:transition advClick="0" advTm="20000">
    <p:push dir="u"/>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90762587"/>
      </p:ext>
    </p:extLst>
  </p:cSld>
  <p:clrMapOvr>
    <a:masterClrMapping/>
  </p:clrMapOvr>
  <p:transition advClick="0" advTm="20000">
    <p:push dir="u"/>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10586449"/>
      </p:ext>
    </p:extLst>
  </p:cSld>
  <p:clrMapOvr>
    <a:masterClrMapping/>
  </p:clrMapOvr>
  <p:transition advClick="0" advTm="20000">
    <p:push dir="u"/>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49165785"/>
      </p:ext>
    </p:extLst>
  </p:cSld>
  <p:clrMapOvr>
    <a:masterClrMapping/>
  </p:clrMapOvr>
  <p:transition advClick="0" advTm="20000">
    <p:push dir="u"/>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gradFill>
                  <a:gsLst>
                    <a:gs pos="0">
                      <a:schemeClr val="tx1"/>
                    </a:gs>
                    <a:gs pos="100000">
                      <a:schemeClr val="tx1"/>
                    </a:gs>
                  </a:gsLst>
                  <a:lin ang="5400000" scaled="1"/>
                </a:gra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gradFill>
                  <a:gsLst>
                    <a:gs pos="0">
                      <a:schemeClr val="tx1"/>
                    </a:gs>
                    <a:gs pos="100000">
                      <a:schemeClr val="tx1"/>
                    </a:gs>
                  </a:gsLst>
                  <a:lin ang="5400000" scaled="1"/>
                </a:gra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625802682"/>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4200"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1428320943"/>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447039"/>
            <a:ext cx="7251192" cy="369332"/>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356100" y="2017713"/>
            <a:ext cx="72532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0292397"/>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1080469717"/>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2842675"/>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77089819"/>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37093398"/>
      </p:ext>
    </p:extLst>
  </p:cSld>
  <p:clrMapOvr>
    <a:masterClrMapping/>
  </p:clrMapOvr>
  <p:transition advClick="0" advTm="20000">
    <p:push dir="u"/>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22605044"/>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63563498"/>
      </p:ext>
    </p:extLst>
  </p:cSld>
  <p:clrMapOvr>
    <a:masterClrMapping/>
  </p:clrMapOvr>
  <p:transition advClick="0" advTm="20000">
    <p:push dir="u"/>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9204425"/>
      </p:ext>
    </p:extLst>
  </p:cSld>
  <p:clrMapOvr>
    <a:masterClrMapping/>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0003346"/>
      </p:ext>
    </p:extLst>
  </p:cSld>
  <p:clrMapOvr>
    <a:overrideClrMapping bg1="dk1" tx1="lt1" bg2="dk2" tx2="lt2" accent1="accent1" accent2="accent2" accent3="accent3" accent4="accent4" accent5="accent5" accent6="accent6" hlink="hlink" folHlink="folHlink"/>
  </p:clrMapOvr>
  <p:transition advClick="0" advTm="20000">
    <p:push dir="u"/>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0.xml"/><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26" Type="http://schemas.openxmlformats.org/officeDocument/2006/relationships/slideLayout" Target="../slideLayouts/slideLayout318.xml"/><Relationship Id="rId3" Type="http://schemas.openxmlformats.org/officeDocument/2006/relationships/slideLayout" Target="../slideLayouts/slideLayout295.xml"/><Relationship Id="rId21" Type="http://schemas.openxmlformats.org/officeDocument/2006/relationships/slideLayout" Target="../slideLayouts/slideLayout313.xml"/><Relationship Id="rId7" Type="http://schemas.openxmlformats.org/officeDocument/2006/relationships/slideLayout" Target="../slideLayouts/slideLayout299.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5" Type="http://schemas.openxmlformats.org/officeDocument/2006/relationships/slideLayout" Target="../slideLayouts/slideLayout317.xml"/><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0" Type="http://schemas.openxmlformats.org/officeDocument/2006/relationships/slideLayout" Target="../slideLayouts/slideLayout312.xml"/><Relationship Id="rId29" Type="http://schemas.openxmlformats.org/officeDocument/2006/relationships/slideLayout" Target="../slideLayouts/slideLayout321.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24" Type="http://schemas.openxmlformats.org/officeDocument/2006/relationships/slideLayout" Target="../slideLayouts/slideLayout316.xml"/><Relationship Id="rId32" Type="http://schemas.openxmlformats.org/officeDocument/2006/relationships/image" Target="../media/image58.emf"/><Relationship Id="rId5" Type="http://schemas.openxmlformats.org/officeDocument/2006/relationships/slideLayout" Target="../slideLayouts/slideLayout297.xml"/><Relationship Id="rId15" Type="http://schemas.openxmlformats.org/officeDocument/2006/relationships/slideLayout" Target="../slideLayouts/slideLayout307.xml"/><Relationship Id="rId23" Type="http://schemas.openxmlformats.org/officeDocument/2006/relationships/slideLayout" Target="../slideLayouts/slideLayout315.xml"/><Relationship Id="rId28" Type="http://schemas.openxmlformats.org/officeDocument/2006/relationships/slideLayout" Target="../slideLayouts/slideLayout320.xml"/><Relationship Id="rId10" Type="http://schemas.openxmlformats.org/officeDocument/2006/relationships/slideLayout" Target="../slideLayouts/slideLayout302.xml"/><Relationship Id="rId19" Type="http://schemas.openxmlformats.org/officeDocument/2006/relationships/slideLayout" Target="../slideLayouts/slideLayout311.xml"/><Relationship Id="rId31" Type="http://schemas.openxmlformats.org/officeDocument/2006/relationships/theme" Target="../theme/theme10.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 Id="rId22" Type="http://schemas.openxmlformats.org/officeDocument/2006/relationships/slideLayout" Target="../slideLayouts/slideLayout314.xml"/><Relationship Id="rId27" Type="http://schemas.openxmlformats.org/officeDocument/2006/relationships/slideLayout" Target="../slideLayouts/slideLayout319.xml"/><Relationship Id="rId30" Type="http://schemas.openxmlformats.org/officeDocument/2006/relationships/slideLayout" Target="../slideLayouts/slideLayout32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26" Type="http://schemas.openxmlformats.org/officeDocument/2006/relationships/slideLayout" Target="../slideLayouts/slideLayout348.xml"/><Relationship Id="rId3" Type="http://schemas.openxmlformats.org/officeDocument/2006/relationships/slideLayout" Target="../slideLayouts/slideLayout325.xml"/><Relationship Id="rId21" Type="http://schemas.openxmlformats.org/officeDocument/2006/relationships/slideLayout" Target="../slideLayouts/slideLayout343.xml"/><Relationship Id="rId34" Type="http://schemas.openxmlformats.org/officeDocument/2006/relationships/image" Target="../media/image68.png"/><Relationship Id="rId7" Type="http://schemas.openxmlformats.org/officeDocument/2006/relationships/slideLayout" Target="../slideLayouts/slideLayout329.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5" Type="http://schemas.openxmlformats.org/officeDocument/2006/relationships/slideLayout" Target="../slideLayouts/slideLayout347.xml"/><Relationship Id="rId33" Type="http://schemas.openxmlformats.org/officeDocument/2006/relationships/theme" Target="../theme/theme11.xml"/><Relationship Id="rId2" Type="http://schemas.openxmlformats.org/officeDocument/2006/relationships/slideLayout" Target="../slideLayouts/slideLayout324.xml"/><Relationship Id="rId16" Type="http://schemas.openxmlformats.org/officeDocument/2006/relationships/slideLayout" Target="../slideLayouts/slideLayout338.xml"/><Relationship Id="rId20" Type="http://schemas.openxmlformats.org/officeDocument/2006/relationships/slideLayout" Target="../slideLayouts/slideLayout342.xml"/><Relationship Id="rId29" Type="http://schemas.openxmlformats.org/officeDocument/2006/relationships/slideLayout" Target="../slideLayouts/slideLayout351.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24" Type="http://schemas.openxmlformats.org/officeDocument/2006/relationships/slideLayout" Target="../slideLayouts/slideLayout346.xml"/><Relationship Id="rId32" Type="http://schemas.openxmlformats.org/officeDocument/2006/relationships/slideLayout" Target="../slideLayouts/slideLayout354.xml"/><Relationship Id="rId5" Type="http://schemas.openxmlformats.org/officeDocument/2006/relationships/slideLayout" Target="../slideLayouts/slideLayout327.xml"/><Relationship Id="rId15" Type="http://schemas.openxmlformats.org/officeDocument/2006/relationships/slideLayout" Target="../slideLayouts/slideLayout337.xml"/><Relationship Id="rId23" Type="http://schemas.openxmlformats.org/officeDocument/2006/relationships/slideLayout" Target="../slideLayouts/slideLayout345.xml"/><Relationship Id="rId28" Type="http://schemas.openxmlformats.org/officeDocument/2006/relationships/slideLayout" Target="../slideLayouts/slideLayout350.xml"/><Relationship Id="rId10" Type="http://schemas.openxmlformats.org/officeDocument/2006/relationships/slideLayout" Target="../slideLayouts/slideLayout332.xml"/><Relationship Id="rId19" Type="http://schemas.openxmlformats.org/officeDocument/2006/relationships/slideLayout" Target="../slideLayouts/slideLayout341.xml"/><Relationship Id="rId31" Type="http://schemas.openxmlformats.org/officeDocument/2006/relationships/slideLayout" Target="../slideLayouts/slideLayout353.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slideLayout" Target="../slideLayouts/slideLayout336.xml"/><Relationship Id="rId22" Type="http://schemas.openxmlformats.org/officeDocument/2006/relationships/slideLayout" Target="../slideLayouts/slideLayout344.xml"/><Relationship Id="rId27" Type="http://schemas.openxmlformats.org/officeDocument/2006/relationships/slideLayout" Target="../slideLayouts/slideLayout349.xml"/><Relationship Id="rId30" Type="http://schemas.openxmlformats.org/officeDocument/2006/relationships/slideLayout" Target="../slideLayouts/slideLayout352.xml"/><Relationship Id="rId8" Type="http://schemas.openxmlformats.org/officeDocument/2006/relationships/slideLayout" Target="../slideLayouts/slideLayout330.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67.xml"/><Relationship Id="rId18" Type="http://schemas.openxmlformats.org/officeDocument/2006/relationships/slideLayout" Target="../slideLayouts/slideLayout372.xml"/><Relationship Id="rId26" Type="http://schemas.openxmlformats.org/officeDocument/2006/relationships/slideLayout" Target="../slideLayouts/slideLayout380.xml"/><Relationship Id="rId3" Type="http://schemas.openxmlformats.org/officeDocument/2006/relationships/slideLayout" Target="../slideLayouts/slideLayout357.xml"/><Relationship Id="rId21" Type="http://schemas.openxmlformats.org/officeDocument/2006/relationships/slideLayout" Target="../slideLayouts/slideLayout375.xml"/><Relationship Id="rId34" Type="http://schemas.openxmlformats.org/officeDocument/2006/relationships/theme" Target="../theme/theme12.xml"/><Relationship Id="rId7" Type="http://schemas.openxmlformats.org/officeDocument/2006/relationships/slideLayout" Target="../slideLayouts/slideLayout361.xml"/><Relationship Id="rId12" Type="http://schemas.openxmlformats.org/officeDocument/2006/relationships/slideLayout" Target="../slideLayouts/slideLayout366.xml"/><Relationship Id="rId17" Type="http://schemas.openxmlformats.org/officeDocument/2006/relationships/slideLayout" Target="../slideLayouts/slideLayout371.xml"/><Relationship Id="rId25" Type="http://schemas.openxmlformats.org/officeDocument/2006/relationships/slideLayout" Target="../slideLayouts/slideLayout379.xml"/><Relationship Id="rId33" Type="http://schemas.openxmlformats.org/officeDocument/2006/relationships/slideLayout" Target="../slideLayouts/slideLayout387.xml"/><Relationship Id="rId2" Type="http://schemas.openxmlformats.org/officeDocument/2006/relationships/slideLayout" Target="../slideLayouts/slideLayout356.xml"/><Relationship Id="rId16" Type="http://schemas.openxmlformats.org/officeDocument/2006/relationships/slideLayout" Target="../slideLayouts/slideLayout370.xml"/><Relationship Id="rId20" Type="http://schemas.openxmlformats.org/officeDocument/2006/relationships/slideLayout" Target="../slideLayouts/slideLayout374.xml"/><Relationship Id="rId29" Type="http://schemas.openxmlformats.org/officeDocument/2006/relationships/slideLayout" Target="../slideLayouts/slideLayout383.xml"/><Relationship Id="rId1" Type="http://schemas.openxmlformats.org/officeDocument/2006/relationships/slideLayout" Target="../slideLayouts/slideLayout355.xml"/><Relationship Id="rId6" Type="http://schemas.openxmlformats.org/officeDocument/2006/relationships/slideLayout" Target="../slideLayouts/slideLayout360.xml"/><Relationship Id="rId11" Type="http://schemas.openxmlformats.org/officeDocument/2006/relationships/slideLayout" Target="../slideLayouts/slideLayout365.xml"/><Relationship Id="rId24" Type="http://schemas.openxmlformats.org/officeDocument/2006/relationships/slideLayout" Target="../slideLayouts/slideLayout378.xml"/><Relationship Id="rId32" Type="http://schemas.openxmlformats.org/officeDocument/2006/relationships/slideLayout" Target="../slideLayouts/slideLayout386.xml"/><Relationship Id="rId5" Type="http://schemas.openxmlformats.org/officeDocument/2006/relationships/slideLayout" Target="../slideLayouts/slideLayout359.xml"/><Relationship Id="rId15" Type="http://schemas.openxmlformats.org/officeDocument/2006/relationships/slideLayout" Target="../slideLayouts/slideLayout369.xml"/><Relationship Id="rId23" Type="http://schemas.openxmlformats.org/officeDocument/2006/relationships/slideLayout" Target="../slideLayouts/slideLayout377.xml"/><Relationship Id="rId28" Type="http://schemas.openxmlformats.org/officeDocument/2006/relationships/slideLayout" Target="../slideLayouts/slideLayout382.xml"/><Relationship Id="rId10" Type="http://schemas.openxmlformats.org/officeDocument/2006/relationships/slideLayout" Target="../slideLayouts/slideLayout364.xml"/><Relationship Id="rId19" Type="http://schemas.openxmlformats.org/officeDocument/2006/relationships/slideLayout" Target="../slideLayouts/slideLayout373.xml"/><Relationship Id="rId31" Type="http://schemas.openxmlformats.org/officeDocument/2006/relationships/slideLayout" Target="../slideLayouts/slideLayout385.xml"/><Relationship Id="rId4" Type="http://schemas.openxmlformats.org/officeDocument/2006/relationships/slideLayout" Target="../slideLayouts/slideLayout358.xml"/><Relationship Id="rId9" Type="http://schemas.openxmlformats.org/officeDocument/2006/relationships/slideLayout" Target="../slideLayouts/slideLayout363.xml"/><Relationship Id="rId14" Type="http://schemas.openxmlformats.org/officeDocument/2006/relationships/slideLayout" Target="../slideLayouts/slideLayout368.xml"/><Relationship Id="rId22" Type="http://schemas.openxmlformats.org/officeDocument/2006/relationships/slideLayout" Target="../slideLayouts/slideLayout376.xml"/><Relationship Id="rId27" Type="http://schemas.openxmlformats.org/officeDocument/2006/relationships/slideLayout" Target="../slideLayouts/slideLayout381.xml"/><Relationship Id="rId30" Type="http://schemas.openxmlformats.org/officeDocument/2006/relationships/slideLayout" Target="../slideLayouts/slideLayout384.xml"/><Relationship Id="rId35" Type="http://schemas.openxmlformats.org/officeDocument/2006/relationships/image" Target="../media/image68.png"/><Relationship Id="rId8" Type="http://schemas.openxmlformats.org/officeDocument/2006/relationships/slideLayout" Target="../slideLayouts/slideLayout36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95.xml"/><Relationship Id="rId13" Type="http://schemas.openxmlformats.org/officeDocument/2006/relationships/slideLayout" Target="../slideLayouts/slideLayout400.xml"/><Relationship Id="rId18" Type="http://schemas.openxmlformats.org/officeDocument/2006/relationships/slideLayout" Target="../slideLayouts/slideLayout405.xml"/><Relationship Id="rId3" Type="http://schemas.openxmlformats.org/officeDocument/2006/relationships/slideLayout" Target="../slideLayouts/slideLayout390.xml"/><Relationship Id="rId21" Type="http://schemas.openxmlformats.org/officeDocument/2006/relationships/theme" Target="../theme/theme13.xml"/><Relationship Id="rId7" Type="http://schemas.openxmlformats.org/officeDocument/2006/relationships/slideLayout" Target="../slideLayouts/slideLayout394.xml"/><Relationship Id="rId12" Type="http://schemas.openxmlformats.org/officeDocument/2006/relationships/slideLayout" Target="../slideLayouts/slideLayout399.xml"/><Relationship Id="rId17" Type="http://schemas.openxmlformats.org/officeDocument/2006/relationships/slideLayout" Target="../slideLayouts/slideLayout404.xml"/><Relationship Id="rId2" Type="http://schemas.openxmlformats.org/officeDocument/2006/relationships/slideLayout" Target="../slideLayouts/slideLayout389.xml"/><Relationship Id="rId16" Type="http://schemas.openxmlformats.org/officeDocument/2006/relationships/slideLayout" Target="../slideLayouts/slideLayout403.xml"/><Relationship Id="rId20" Type="http://schemas.openxmlformats.org/officeDocument/2006/relationships/slideLayout" Target="../slideLayouts/slideLayout407.xml"/><Relationship Id="rId1" Type="http://schemas.openxmlformats.org/officeDocument/2006/relationships/slideLayout" Target="../slideLayouts/slideLayout388.xml"/><Relationship Id="rId6" Type="http://schemas.openxmlformats.org/officeDocument/2006/relationships/slideLayout" Target="../slideLayouts/slideLayout393.xml"/><Relationship Id="rId11" Type="http://schemas.openxmlformats.org/officeDocument/2006/relationships/slideLayout" Target="../slideLayouts/slideLayout398.xml"/><Relationship Id="rId5" Type="http://schemas.openxmlformats.org/officeDocument/2006/relationships/slideLayout" Target="../slideLayouts/slideLayout392.xml"/><Relationship Id="rId15" Type="http://schemas.openxmlformats.org/officeDocument/2006/relationships/slideLayout" Target="../slideLayouts/slideLayout402.xml"/><Relationship Id="rId10" Type="http://schemas.openxmlformats.org/officeDocument/2006/relationships/slideLayout" Target="../slideLayouts/slideLayout397.xml"/><Relationship Id="rId19" Type="http://schemas.openxmlformats.org/officeDocument/2006/relationships/slideLayout" Target="../slideLayouts/slideLayout406.xml"/><Relationship Id="rId4" Type="http://schemas.openxmlformats.org/officeDocument/2006/relationships/slideLayout" Target="../slideLayouts/slideLayout391.xml"/><Relationship Id="rId9" Type="http://schemas.openxmlformats.org/officeDocument/2006/relationships/slideLayout" Target="../slideLayouts/slideLayout396.xml"/><Relationship Id="rId14" Type="http://schemas.openxmlformats.org/officeDocument/2006/relationships/slideLayout" Target="../slideLayouts/slideLayout401.xml"/><Relationship Id="rId22" Type="http://schemas.openxmlformats.org/officeDocument/2006/relationships/image" Target="../media/image75.emf"/></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20.xml"/><Relationship Id="rId18" Type="http://schemas.openxmlformats.org/officeDocument/2006/relationships/slideLayout" Target="../slideLayouts/slideLayout425.xml"/><Relationship Id="rId26" Type="http://schemas.openxmlformats.org/officeDocument/2006/relationships/slideLayout" Target="../slideLayouts/slideLayout433.xml"/><Relationship Id="rId3" Type="http://schemas.openxmlformats.org/officeDocument/2006/relationships/slideLayout" Target="../slideLayouts/slideLayout410.xml"/><Relationship Id="rId21" Type="http://schemas.openxmlformats.org/officeDocument/2006/relationships/slideLayout" Target="../slideLayouts/slideLayout428.xml"/><Relationship Id="rId34" Type="http://schemas.openxmlformats.org/officeDocument/2006/relationships/slideLayout" Target="../slideLayouts/slideLayout441.xml"/><Relationship Id="rId7" Type="http://schemas.openxmlformats.org/officeDocument/2006/relationships/slideLayout" Target="../slideLayouts/slideLayout414.xml"/><Relationship Id="rId12" Type="http://schemas.openxmlformats.org/officeDocument/2006/relationships/slideLayout" Target="../slideLayouts/slideLayout419.xml"/><Relationship Id="rId17" Type="http://schemas.openxmlformats.org/officeDocument/2006/relationships/slideLayout" Target="../slideLayouts/slideLayout424.xml"/><Relationship Id="rId25" Type="http://schemas.openxmlformats.org/officeDocument/2006/relationships/slideLayout" Target="../slideLayouts/slideLayout432.xml"/><Relationship Id="rId33" Type="http://schemas.openxmlformats.org/officeDocument/2006/relationships/slideLayout" Target="../slideLayouts/slideLayout440.xml"/><Relationship Id="rId2" Type="http://schemas.openxmlformats.org/officeDocument/2006/relationships/slideLayout" Target="../slideLayouts/slideLayout409.xml"/><Relationship Id="rId16" Type="http://schemas.openxmlformats.org/officeDocument/2006/relationships/slideLayout" Target="../slideLayouts/slideLayout423.xml"/><Relationship Id="rId20" Type="http://schemas.openxmlformats.org/officeDocument/2006/relationships/slideLayout" Target="../slideLayouts/slideLayout427.xml"/><Relationship Id="rId29" Type="http://schemas.openxmlformats.org/officeDocument/2006/relationships/slideLayout" Target="../slideLayouts/slideLayout436.xml"/><Relationship Id="rId1" Type="http://schemas.openxmlformats.org/officeDocument/2006/relationships/slideLayout" Target="../slideLayouts/slideLayout408.xml"/><Relationship Id="rId6" Type="http://schemas.openxmlformats.org/officeDocument/2006/relationships/slideLayout" Target="../slideLayouts/slideLayout413.xml"/><Relationship Id="rId11" Type="http://schemas.openxmlformats.org/officeDocument/2006/relationships/slideLayout" Target="../slideLayouts/slideLayout418.xml"/><Relationship Id="rId24" Type="http://schemas.openxmlformats.org/officeDocument/2006/relationships/slideLayout" Target="../slideLayouts/slideLayout431.xml"/><Relationship Id="rId32" Type="http://schemas.openxmlformats.org/officeDocument/2006/relationships/slideLayout" Target="../slideLayouts/slideLayout439.xml"/><Relationship Id="rId5" Type="http://schemas.openxmlformats.org/officeDocument/2006/relationships/slideLayout" Target="../slideLayouts/slideLayout412.xml"/><Relationship Id="rId15" Type="http://schemas.openxmlformats.org/officeDocument/2006/relationships/slideLayout" Target="../slideLayouts/slideLayout422.xml"/><Relationship Id="rId23" Type="http://schemas.openxmlformats.org/officeDocument/2006/relationships/slideLayout" Target="../slideLayouts/slideLayout430.xml"/><Relationship Id="rId28" Type="http://schemas.openxmlformats.org/officeDocument/2006/relationships/slideLayout" Target="../slideLayouts/slideLayout435.xml"/><Relationship Id="rId36" Type="http://schemas.openxmlformats.org/officeDocument/2006/relationships/image" Target="../media/image34.emf"/><Relationship Id="rId10" Type="http://schemas.openxmlformats.org/officeDocument/2006/relationships/slideLayout" Target="../slideLayouts/slideLayout417.xml"/><Relationship Id="rId19" Type="http://schemas.openxmlformats.org/officeDocument/2006/relationships/slideLayout" Target="../slideLayouts/slideLayout426.xml"/><Relationship Id="rId31" Type="http://schemas.openxmlformats.org/officeDocument/2006/relationships/slideLayout" Target="../slideLayouts/slideLayout438.xml"/><Relationship Id="rId4" Type="http://schemas.openxmlformats.org/officeDocument/2006/relationships/slideLayout" Target="../slideLayouts/slideLayout411.xml"/><Relationship Id="rId9" Type="http://schemas.openxmlformats.org/officeDocument/2006/relationships/slideLayout" Target="../slideLayouts/slideLayout416.xml"/><Relationship Id="rId14" Type="http://schemas.openxmlformats.org/officeDocument/2006/relationships/slideLayout" Target="../slideLayouts/slideLayout421.xml"/><Relationship Id="rId22" Type="http://schemas.openxmlformats.org/officeDocument/2006/relationships/slideLayout" Target="../slideLayouts/slideLayout429.xml"/><Relationship Id="rId27" Type="http://schemas.openxmlformats.org/officeDocument/2006/relationships/slideLayout" Target="../slideLayouts/slideLayout434.xml"/><Relationship Id="rId30" Type="http://schemas.openxmlformats.org/officeDocument/2006/relationships/slideLayout" Target="../slideLayouts/slideLayout437.xml"/><Relationship Id="rId35" Type="http://schemas.openxmlformats.org/officeDocument/2006/relationships/theme" Target="../theme/theme14.xml"/><Relationship Id="rId8" Type="http://schemas.openxmlformats.org/officeDocument/2006/relationships/slideLayout" Target="../slideLayouts/slideLayout41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49.xml"/><Relationship Id="rId13" Type="http://schemas.openxmlformats.org/officeDocument/2006/relationships/slideLayout" Target="../slideLayouts/slideLayout454.xml"/><Relationship Id="rId18" Type="http://schemas.openxmlformats.org/officeDocument/2006/relationships/slideLayout" Target="../slideLayouts/slideLayout459.xml"/><Relationship Id="rId3" Type="http://schemas.openxmlformats.org/officeDocument/2006/relationships/slideLayout" Target="../slideLayouts/slideLayout444.xml"/><Relationship Id="rId21" Type="http://schemas.openxmlformats.org/officeDocument/2006/relationships/theme" Target="../theme/theme15.xml"/><Relationship Id="rId7" Type="http://schemas.openxmlformats.org/officeDocument/2006/relationships/slideLayout" Target="../slideLayouts/slideLayout448.xml"/><Relationship Id="rId12" Type="http://schemas.openxmlformats.org/officeDocument/2006/relationships/slideLayout" Target="../slideLayouts/slideLayout453.xml"/><Relationship Id="rId17" Type="http://schemas.openxmlformats.org/officeDocument/2006/relationships/slideLayout" Target="../slideLayouts/slideLayout458.xml"/><Relationship Id="rId2" Type="http://schemas.openxmlformats.org/officeDocument/2006/relationships/slideLayout" Target="../slideLayouts/slideLayout443.xml"/><Relationship Id="rId16" Type="http://schemas.openxmlformats.org/officeDocument/2006/relationships/slideLayout" Target="../slideLayouts/slideLayout457.xml"/><Relationship Id="rId20" Type="http://schemas.openxmlformats.org/officeDocument/2006/relationships/slideLayout" Target="../slideLayouts/slideLayout461.xml"/><Relationship Id="rId1" Type="http://schemas.openxmlformats.org/officeDocument/2006/relationships/slideLayout" Target="../slideLayouts/slideLayout442.xml"/><Relationship Id="rId6" Type="http://schemas.openxmlformats.org/officeDocument/2006/relationships/slideLayout" Target="../slideLayouts/slideLayout447.xml"/><Relationship Id="rId11" Type="http://schemas.openxmlformats.org/officeDocument/2006/relationships/slideLayout" Target="../slideLayouts/slideLayout452.xml"/><Relationship Id="rId5" Type="http://schemas.openxmlformats.org/officeDocument/2006/relationships/slideLayout" Target="../slideLayouts/slideLayout446.xml"/><Relationship Id="rId15" Type="http://schemas.openxmlformats.org/officeDocument/2006/relationships/slideLayout" Target="../slideLayouts/slideLayout456.xml"/><Relationship Id="rId10" Type="http://schemas.openxmlformats.org/officeDocument/2006/relationships/slideLayout" Target="../slideLayouts/slideLayout451.xml"/><Relationship Id="rId19" Type="http://schemas.openxmlformats.org/officeDocument/2006/relationships/slideLayout" Target="../slideLayouts/slideLayout460.xml"/><Relationship Id="rId4" Type="http://schemas.openxmlformats.org/officeDocument/2006/relationships/slideLayout" Target="../slideLayouts/slideLayout445.xml"/><Relationship Id="rId9" Type="http://schemas.openxmlformats.org/officeDocument/2006/relationships/slideLayout" Target="../slideLayouts/slideLayout450.xml"/><Relationship Id="rId14" Type="http://schemas.openxmlformats.org/officeDocument/2006/relationships/slideLayout" Target="../slideLayouts/slideLayout455.xml"/><Relationship Id="rId22" Type="http://schemas.openxmlformats.org/officeDocument/2006/relationships/image" Target="../media/image75.emf"/></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474.xml"/><Relationship Id="rId18" Type="http://schemas.openxmlformats.org/officeDocument/2006/relationships/slideLayout" Target="../slideLayouts/slideLayout479.xml"/><Relationship Id="rId26" Type="http://schemas.openxmlformats.org/officeDocument/2006/relationships/slideLayout" Target="../slideLayouts/slideLayout487.xml"/><Relationship Id="rId21" Type="http://schemas.openxmlformats.org/officeDocument/2006/relationships/slideLayout" Target="../slideLayouts/slideLayout482.xml"/><Relationship Id="rId34" Type="http://schemas.openxmlformats.org/officeDocument/2006/relationships/slideLayout" Target="../slideLayouts/slideLayout495.xml"/><Relationship Id="rId7" Type="http://schemas.openxmlformats.org/officeDocument/2006/relationships/slideLayout" Target="../slideLayouts/slideLayout468.xml"/><Relationship Id="rId12" Type="http://schemas.openxmlformats.org/officeDocument/2006/relationships/slideLayout" Target="../slideLayouts/slideLayout473.xml"/><Relationship Id="rId17" Type="http://schemas.openxmlformats.org/officeDocument/2006/relationships/slideLayout" Target="../slideLayouts/slideLayout478.xml"/><Relationship Id="rId25" Type="http://schemas.openxmlformats.org/officeDocument/2006/relationships/slideLayout" Target="../slideLayouts/slideLayout486.xml"/><Relationship Id="rId33" Type="http://schemas.openxmlformats.org/officeDocument/2006/relationships/slideLayout" Target="../slideLayouts/slideLayout494.xml"/><Relationship Id="rId2" Type="http://schemas.openxmlformats.org/officeDocument/2006/relationships/slideLayout" Target="../slideLayouts/slideLayout463.xml"/><Relationship Id="rId16" Type="http://schemas.openxmlformats.org/officeDocument/2006/relationships/slideLayout" Target="../slideLayouts/slideLayout477.xml"/><Relationship Id="rId20" Type="http://schemas.openxmlformats.org/officeDocument/2006/relationships/slideLayout" Target="../slideLayouts/slideLayout481.xml"/><Relationship Id="rId29" Type="http://schemas.openxmlformats.org/officeDocument/2006/relationships/slideLayout" Target="../slideLayouts/slideLayout490.xml"/><Relationship Id="rId1" Type="http://schemas.openxmlformats.org/officeDocument/2006/relationships/slideLayout" Target="../slideLayouts/slideLayout462.xml"/><Relationship Id="rId6" Type="http://schemas.openxmlformats.org/officeDocument/2006/relationships/slideLayout" Target="../slideLayouts/slideLayout467.xml"/><Relationship Id="rId11" Type="http://schemas.openxmlformats.org/officeDocument/2006/relationships/slideLayout" Target="../slideLayouts/slideLayout472.xml"/><Relationship Id="rId24" Type="http://schemas.openxmlformats.org/officeDocument/2006/relationships/slideLayout" Target="../slideLayouts/slideLayout485.xml"/><Relationship Id="rId32" Type="http://schemas.openxmlformats.org/officeDocument/2006/relationships/slideLayout" Target="../slideLayouts/slideLayout493.xml"/><Relationship Id="rId37" Type="http://schemas.openxmlformats.org/officeDocument/2006/relationships/image" Target="../media/image34.emf"/><Relationship Id="rId5" Type="http://schemas.openxmlformats.org/officeDocument/2006/relationships/slideLayout" Target="../slideLayouts/slideLayout466.xml"/><Relationship Id="rId15" Type="http://schemas.openxmlformats.org/officeDocument/2006/relationships/slideLayout" Target="../slideLayouts/slideLayout476.xml"/><Relationship Id="rId23" Type="http://schemas.openxmlformats.org/officeDocument/2006/relationships/slideLayout" Target="../slideLayouts/slideLayout484.xml"/><Relationship Id="rId28" Type="http://schemas.openxmlformats.org/officeDocument/2006/relationships/slideLayout" Target="../slideLayouts/slideLayout489.xml"/><Relationship Id="rId36" Type="http://schemas.openxmlformats.org/officeDocument/2006/relationships/theme" Target="../theme/theme16.xml"/><Relationship Id="rId10" Type="http://schemas.openxmlformats.org/officeDocument/2006/relationships/slideLayout" Target="../slideLayouts/slideLayout471.xml"/><Relationship Id="rId19" Type="http://schemas.openxmlformats.org/officeDocument/2006/relationships/slideLayout" Target="../slideLayouts/slideLayout480.xml"/><Relationship Id="rId31" Type="http://schemas.openxmlformats.org/officeDocument/2006/relationships/slideLayout" Target="../slideLayouts/slideLayout492.xml"/><Relationship Id="rId4" Type="http://schemas.openxmlformats.org/officeDocument/2006/relationships/slideLayout" Target="../slideLayouts/slideLayout465.xml"/><Relationship Id="rId9" Type="http://schemas.openxmlformats.org/officeDocument/2006/relationships/slideLayout" Target="../slideLayouts/slideLayout470.xml"/><Relationship Id="rId14" Type="http://schemas.openxmlformats.org/officeDocument/2006/relationships/slideLayout" Target="../slideLayouts/slideLayout475.xml"/><Relationship Id="rId22" Type="http://schemas.openxmlformats.org/officeDocument/2006/relationships/slideLayout" Target="../slideLayouts/slideLayout483.xml"/><Relationship Id="rId27" Type="http://schemas.openxmlformats.org/officeDocument/2006/relationships/slideLayout" Target="../slideLayouts/slideLayout488.xml"/><Relationship Id="rId30" Type="http://schemas.openxmlformats.org/officeDocument/2006/relationships/slideLayout" Target="../slideLayouts/slideLayout491.xml"/><Relationship Id="rId35" Type="http://schemas.openxmlformats.org/officeDocument/2006/relationships/slideLayout" Target="../slideLayouts/slideLayout496.xml"/><Relationship Id="rId8" Type="http://schemas.openxmlformats.org/officeDocument/2006/relationships/slideLayout" Target="../slideLayouts/slideLayout469.xml"/><Relationship Id="rId3" Type="http://schemas.openxmlformats.org/officeDocument/2006/relationships/slideLayout" Target="../slideLayouts/slideLayout464.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504.xml"/><Relationship Id="rId13" Type="http://schemas.openxmlformats.org/officeDocument/2006/relationships/slideLayout" Target="../slideLayouts/slideLayout509.xml"/><Relationship Id="rId18" Type="http://schemas.openxmlformats.org/officeDocument/2006/relationships/slideLayout" Target="../slideLayouts/slideLayout514.xml"/><Relationship Id="rId26" Type="http://schemas.openxmlformats.org/officeDocument/2006/relationships/image" Target="../media/image1.emf"/><Relationship Id="rId3" Type="http://schemas.openxmlformats.org/officeDocument/2006/relationships/slideLayout" Target="../slideLayouts/slideLayout499.xml"/><Relationship Id="rId21" Type="http://schemas.openxmlformats.org/officeDocument/2006/relationships/slideLayout" Target="../slideLayouts/slideLayout517.xml"/><Relationship Id="rId7" Type="http://schemas.openxmlformats.org/officeDocument/2006/relationships/slideLayout" Target="../slideLayouts/slideLayout503.xml"/><Relationship Id="rId12" Type="http://schemas.openxmlformats.org/officeDocument/2006/relationships/slideLayout" Target="../slideLayouts/slideLayout508.xml"/><Relationship Id="rId17" Type="http://schemas.openxmlformats.org/officeDocument/2006/relationships/slideLayout" Target="../slideLayouts/slideLayout513.xml"/><Relationship Id="rId25" Type="http://schemas.openxmlformats.org/officeDocument/2006/relationships/image" Target="../media/image44.png"/><Relationship Id="rId2" Type="http://schemas.openxmlformats.org/officeDocument/2006/relationships/slideLayout" Target="../slideLayouts/slideLayout498.xml"/><Relationship Id="rId16" Type="http://schemas.openxmlformats.org/officeDocument/2006/relationships/slideLayout" Target="../slideLayouts/slideLayout512.xml"/><Relationship Id="rId20" Type="http://schemas.openxmlformats.org/officeDocument/2006/relationships/slideLayout" Target="../slideLayouts/slideLayout516.xml"/><Relationship Id="rId1" Type="http://schemas.openxmlformats.org/officeDocument/2006/relationships/slideLayout" Target="../slideLayouts/slideLayout497.xml"/><Relationship Id="rId6" Type="http://schemas.openxmlformats.org/officeDocument/2006/relationships/slideLayout" Target="../slideLayouts/slideLayout502.xml"/><Relationship Id="rId11" Type="http://schemas.openxmlformats.org/officeDocument/2006/relationships/slideLayout" Target="../slideLayouts/slideLayout507.xml"/><Relationship Id="rId24" Type="http://schemas.openxmlformats.org/officeDocument/2006/relationships/theme" Target="../theme/theme17.xml"/><Relationship Id="rId5" Type="http://schemas.openxmlformats.org/officeDocument/2006/relationships/slideLayout" Target="../slideLayouts/slideLayout501.xml"/><Relationship Id="rId15" Type="http://schemas.openxmlformats.org/officeDocument/2006/relationships/slideLayout" Target="../slideLayouts/slideLayout511.xml"/><Relationship Id="rId23" Type="http://schemas.openxmlformats.org/officeDocument/2006/relationships/slideLayout" Target="../slideLayouts/slideLayout519.xml"/><Relationship Id="rId10" Type="http://schemas.openxmlformats.org/officeDocument/2006/relationships/slideLayout" Target="../slideLayouts/slideLayout506.xml"/><Relationship Id="rId19" Type="http://schemas.openxmlformats.org/officeDocument/2006/relationships/slideLayout" Target="../slideLayouts/slideLayout515.xml"/><Relationship Id="rId4" Type="http://schemas.openxmlformats.org/officeDocument/2006/relationships/slideLayout" Target="../slideLayouts/slideLayout500.xml"/><Relationship Id="rId9" Type="http://schemas.openxmlformats.org/officeDocument/2006/relationships/slideLayout" Target="../slideLayouts/slideLayout505.xml"/><Relationship Id="rId14" Type="http://schemas.openxmlformats.org/officeDocument/2006/relationships/slideLayout" Target="../slideLayouts/slideLayout510.xml"/><Relationship Id="rId22" Type="http://schemas.openxmlformats.org/officeDocument/2006/relationships/slideLayout" Target="../slideLayouts/slideLayout518.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532.xml"/><Relationship Id="rId18" Type="http://schemas.openxmlformats.org/officeDocument/2006/relationships/slideLayout" Target="../slideLayouts/slideLayout537.xml"/><Relationship Id="rId26" Type="http://schemas.openxmlformats.org/officeDocument/2006/relationships/slideLayout" Target="../slideLayouts/slideLayout545.xml"/><Relationship Id="rId3" Type="http://schemas.openxmlformats.org/officeDocument/2006/relationships/slideLayout" Target="../slideLayouts/slideLayout522.xml"/><Relationship Id="rId21" Type="http://schemas.openxmlformats.org/officeDocument/2006/relationships/slideLayout" Target="../slideLayouts/slideLayout540.xml"/><Relationship Id="rId34" Type="http://schemas.openxmlformats.org/officeDocument/2006/relationships/slideLayout" Target="../slideLayouts/slideLayout553.xml"/><Relationship Id="rId7" Type="http://schemas.openxmlformats.org/officeDocument/2006/relationships/slideLayout" Target="../slideLayouts/slideLayout526.xml"/><Relationship Id="rId12" Type="http://schemas.openxmlformats.org/officeDocument/2006/relationships/slideLayout" Target="../slideLayouts/slideLayout531.xml"/><Relationship Id="rId17" Type="http://schemas.openxmlformats.org/officeDocument/2006/relationships/slideLayout" Target="../slideLayouts/slideLayout536.xml"/><Relationship Id="rId25" Type="http://schemas.openxmlformats.org/officeDocument/2006/relationships/slideLayout" Target="../slideLayouts/slideLayout544.xml"/><Relationship Id="rId33" Type="http://schemas.openxmlformats.org/officeDocument/2006/relationships/slideLayout" Target="../slideLayouts/slideLayout552.xml"/><Relationship Id="rId2" Type="http://schemas.openxmlformats.org/officeDocument/2006/relationships/slideLayout" Target="../slideLayouts/slideLayout521.xml"/><Relationship Id="rId16" Type="http://schemas.openxmlformats.org/officeDocument/2006/relationships/slideLayout" Target="../slideLayouts/slideLayout535.xml"/><Relationship Id="rId20" Type="http://schemas.openxmlformats.org/officeDocument/2006/relationships/slideLayout" Target="../slideLayouts/slideLayout539.xml"/><Relationship Id="rId29" Type="http://schemas.openxmlformats.org/officeDocument/2006/relationships/slideLayout" Target="../slideLayouts/slideLayout548.xml"/><Relationship Id="rId1" Type="http://schemas.openxmlformats.org/officeDocument/2006/relationships/slideLayout" Target="../slideLayouts/slideLayout520.xml"/><Relationship Id="rId6" Type="http://schemas.openxmlformats.org/officeDocument/2006/relationships/slideLayout" Target="../slideLayouts/slideLayout525.xml"/><Relationship Id="rId11" Type="http://schemas.openxmlformats.org/officeDocument/2006/relationships/slideLayout" Target="../slideLayouts/slideLayout530.xml"/><Relationship Id="rId24" Type="http://schemas.openxmlformats.org/officeDocument/2006/relationships/slideLayout" Target="../slideLayouts/slideLayout543.xml"/><Relationship Id="rId32" Type="http://schemas.openxmlformats.org/officeDocument/2006/relationships/slideLayout" Target="../slideLayouts/slideLayout551.xml"/><Relationship Id="rId5" Type="http://schemas.openxmlformats.org/officeDocument/2006/relationships/slideLayout" Target="../slideLayouts/slideLayout524.xml"/><Relationship Id="rId15" Type="http://schemas.openxmlformats.org/officeDocument/2006/relationships/slideLayout" Target="../slideLayouts/slideLayout534.xml"/><Relationship Id="rId23" Type="http://schemas.openxmlformats.org/officeDocument/2006/relationships/slideLayout" Target="../slideLayouts/slideLayout542.xml"/><Relationship Id="rId28" Type="http://schemas.openxmlformats.org/officeDocument/2006/relationships/slideLayout" Target="../slideLayouts/slideLayout547.xml"/><Relationship Id="rId36" Type="http://schemas.openxmlformats.org/officeDocument/2006/relationships/image" Target="../media/image84.png"/><Relationship Id="rId10" Type="http://schemas.openxmlformats.org/officeDocument/2006/relationships/slideLayout" Target="../slideLayouts/slideLayout529.xml"/><Relationship Id="rId19" Type="http://schemas.openxmlformats.org/officeDocument/2006/relationships/slideLayout" Target="../slideLayouts/slideLayout538.xml"/><Relationship Id="rId31" Type="http://schemas.openxmlformats.org/officeDocument/2006/relationships/slideLayout" Target="../slideLayouts/slideLayout550.xml"/><Relationship Id="rId4" Type="http://schemas.openxmlformats.org/officeDocument/2006/relationships/slideLayout" Target="../slideLayouts/slideLayout523.xml"/><Relationship Id="rId9" Type="http://schemas.openxmlformats.org/officeDocument/2006/relationships/slideLayout" Target="../slideLayouts/slideLayout528.xml"/><Relationship Id="rId14" Type="http://schemas.openxmlformats.org/officeDocument/2006/relationships/slideLayout" Target="../slideLayouts/slideLayout533.xml"/><Relationship Id="rId22" Type="http://schemas.openxmlformats.org/officeDocument/2006/relationships/slideLayout" Target="../slideLayouts/slideLayout541.xml"/><Relationship Id="rId27" Type="http://schemas.openxmlformats.org/officeDocument/2006/relationships/slideLayout" Target="../slideLayouts/slideLayout546.xml"/><Relationship Id="rId30" Type="http://schemas.openxmlformats.org/officeDocument/2006/relationships/slideLayout" Target="../slideLayouts/slideLayout549.xml"/><Relationship Id="rId35" Type="http://schemas.openxmlformats.org/officeDocument/2006/relationships/theme" Target="../theme/theme18.xml"/><Relationship Id="rId8" Type="http://schemas.openxmlformats.org/officeDocument/2006/relationships/slideLayout" Target="../slideLayouts/slideLayout527.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566.xml"/><Relationship Id="rId18" Type="http://schemas.openxmlformats.org/officeDocument/2006/relationships/slideLayout" Target="../slideLayouts/slideLayout571.xml"/><Relationship Id="rId26" Type="http://schemas.openxmlformats.org/officeDocument/2006/relationships/slideLayout" Target="../slideLayouts/slideLayout579.xml"/><Relationship Id="rId39" Type="http://schemas.openxmlformats.org/officeDocument/2006/relationships/slideLayout" Target="../slideLayouts/slideLayout592.xml"/><Relationship Id="rId21" Type="http://schemas.openxmlformats.org/officeDocument/2006/relationships/slideLayout" Target="../slideLayouts/slideLayout574.xml"/><Relationship Id="rId34" Type="http://schemas.openxmlformats.org/officeDocument/2006/relationships/slideLayout" Target="../slideLayouts/slideLayout587.xml"/><Relationship Id="rId42" Type="http://schemas.openxmlformats.org/officeDocument/2006/relationships/slideLayout" Target="../slideLayouts/slideLayout595.xml"/><Relationship Id="rId47" Type="http://schemas.openxmlformats.org/officeDocument/2006/relationships/slideLayout" Target="../slideLayouts/slideLayout600.xml"/><Relationship Id="rId50" Type="http://schemas.openxmlformats.org/officeDocument/2006/relationships/slideLayout" Target="../slideLayouts/slideLayout603.xml"/><Relationship Id="rId55" Type="http://schemas.openxmlformats.org/officeDocument/2006/relationships/slideLayout" Target="../slideLayouts/slideLayout608.xml"/><Relationship Id="rId7" Type="http://schemas.openxmlformats.org/officeDocument/2006/relationships/slideLayout" Target="../slideLayouts/slideLayout560.xml"/><Relationship Id="rId2" Type="http://schemas.openxmlformats.org/officeDocument/2006/relationships/slideLayout" Target="../slideLayouts/slideLayout555.xml"/><Relationship Id="rId16" Type="http://schemas.openxmlformats.org/officeDocument/2006/relationships/slideLayout" Target="../slideLayouts/slideLayout569.xml"/><Relationship Id="rId29" Type="http://schemas.openxmlformats.org/officeDocument/2006/relationships/slideLayout" Target="../slideLayouts/slideLayout582.xml"/><Relationship Id="rId11" Type="http://schemas.openxmlformats.org/officeDocument/2006/relationships/slideLayout" Target="../slideLayouts/slideLayout564.xml"/><Relationship Id="rId24" Type="http://schemas.openxmlformats.org/officeDocument/2006/relationships/slideLayout" Target="../slideLayouts/slideLayout577.xml"/><Relationship Id="rId32" Type="http://schemas.openxmlformats.org/officeDocument/2006/relationships/slideLayout" Target="../slideLayouts/slideLayout585.xml"/><Relationship Id="rId37" Type="http://schemas.openxmlformats.org/officeDocument/2006/relationships/slideLayout" Target="../slideLayouts/slideLayout590.xml"/><Relationship Id="rId40" Type="http://schemas.openxmlformats.org/officeDocument/2006/relationships/slideLayout" Target="../slideLayouts/slideLayout593.xml"/><Relationship Id="rId45" Type="http://schemas.openxmlformats.org/officeDocument/2006/relationships/slideLayout" Target="../slideLayouts/slideLayout598.xml"/><Relationship Id="rId53" Type="http://schemas.openxmlformats.org/officeDocument/2006/relationships/slideLayout" Target="../slideLayouts/slideLayout606.xml"/><Relationship Id="rId5" Type="http://schemas.openxmlformats.org/officeDocument/2006/relationships/slideLayout" Target="../slideLayouts/slideLayout558.xml"/><Relationship Id="rId19" Type="http://schemas.openxmlformats.org/officeDocument/2006/relationships/slideLayout" Target="../slideLayouts/slideLayout572.xml"/><Relationship Id="rId4" Type="http://schemas.openxmlformats.org/officeDocument/2006/relationships/slideLayout" Target="../slideLayouts/slideLayout557.xml"/><Relationship Id="rId9" Type="http://schemas.openxmlformats.org/officeDocument/2006/relationships/slideLayout" Target="../slideLayouts/slideLayout562.xml"/><Relationship Id="rId14" Type="http://schemas.openxmlformats.org/officeDocument/2006/relationships/slideLayout" Target="../slideLayouts/slideLayout567.xml"/><Relationship Id="rId22" Type="http://schemas.openxmlformats.org/officeDocument/2006/relationships/slideLayout" Target="../slideLayouts/slideLayout575.xml"/><Relationship Id="rId27" Type="http://schemas.openxmlformats.org/officeDocument/2006/relationships/slideLayout" Target="../slideLayouts/slideLayout580.xml"/><Relationship Id="rId30" Type="http://schemas.openxmlformats.org/officeDocument/2006/relationships/slideLayout" Target="../slideLayouts/slideLayout583.xml"/><Relationship Id="rId35" Type="http://schemas.openxmlformats.org/officeDocument/2006/relationships/slideLayout" Target="../slideLayouts/slideLayout588.xml"/><Relationship Id="rId43" Type="http://schemas.openxmlformats.org/officeDocument/2006/relationships/slideLayout" Target="../slideLayouts/slideLayout596.xml"/><Relationship Id="rId48" Type="http://schemas.openxmlformats.org/officeDocument/2006/relationships/slideLayout" Target="../slideLayouts/slideLayout601.xml"/><Relationship Id="rId56" Type="http://schemas.openxmlformats.org/officeDocument/2006/relationships/theme" Target="../theme/theme19.xml"/><Relationship Id="rId8" Type="http://schemas.openxmlformats.org/officeDocument/2006/relationships/slideLayout" Target="../slideLayouts/slideLayout561.xml"/><Relationship Id="rId51" Type="http://schemas.openxmlformats.org/officeDocument/2006/relationships/slideLayout" Target="../slideLayouts/slideLayout604.xml"/><Relationship Id="rId3" Type="http://schemas.openxmlformats.org/officeDocument/2006/relationships/slideLayout" Target="../slideLayouts/slideLayout556.xml"/><Relationship Id="rId12" Type="http://schemas.openxmlformats.org/officeDocument/2006/relationships/slideLayout" Target="../slideLayouts/slideLayout565.xml"/><Relationship Id="rId17" Type="http://schemas.openxmlformats.org/officeDocument/2006/relationships/slideLayout" Target="../slideLayouts/slideLayout570.xml"/><Relationship Id="rId25" Type="http://schemas.openxmlformats.org/officeDocument/2006/relationships/slideLayout" Target="../slideLayouts/slideLayout578.xml"/><Relationship Id="rId33" Type="http://schemas.openxmlformats.org/officeDocument/2006/relationships/slideLayout" Target="../slideLayouts/slideLayout586.xml"/><Relationship Id="rId38" Type="http://schemas.openxmlformats.org/officeDocument/2006/relationships/slideLayout" Target="../slideLayouts/slideLayout591.xml"/><Relationship Id="rId46" Type="http://schemas.openxmlformats.org/officeDocument/2006/relationships/slideLayout" Target="../slideLayouts/slideLayout599.xml"/><Relationship Id="rId20" Type="http://schemas.openxmlformats.org/officeDocument/2006/relationships/slideLayout" Target="../slideLayouts/slideLayout573.xml"/><Relationship Id="rId41" Type="http://schemas.openxmlformats.org/officeDocument/2006/relationships/slideLayout" Target="../slideLayouts/slideLayout594.xml"/><Relationship Id="rId54" Type="http://schemas.openxmlformats.org/officeDocument/2006/relationships/slideLayout" Target="../slideLayouts/slideLayout607.xml"/><Relationship Id="rId1" Type="http://schemas.openxmlformats.org/officeDocument/2006/relationships/slideLayout" Target="../slideLayouts/slideLayout554.xml"/><Relationship Id="rId6" Type="http://schemas.openxmlformats.org/officeDocument/2006/relationships/slideLayout" Target="../slideLayouts/slideLayout559.xml"/><Relationship Id="rId15" Type="http://schemas.openxmlformats.org/officeDocument/2006/relationships/slideLayout" Target="../slideLayouts/slideLayout568.xml"/><Relationship Id="rId23" Type="http://schemas.openxmlformats.org/officeDocument/2006/relationships/slideLayout" Target="../slideLayouts/slideLayout576.xml"/><Relationship Id="rId28" Type="http://schemas.openxmlformats.org/officeDocument/2006/relationships/slideLayout" Target="../slideLayouts/slideLayout581.xml"/><Relationship Id="rId36" Type="http://schemas.openxmlformats.org/officeDocument/2006/relationships/slideLayout" Target="../slideLayouts/slideLayout589.xml"/><Relationship Id="rId49" Type="http://schemas.openxmlformats.org/officeDocument/2006/relationships/slideLayout" Target="../slideLayouts/slideLayout602.xml"/><Relationship Id="rId57" Type="http://schemas.openxmlformats.org/officeDocument/2006/relationships/image" Target="../media/image106.png"/><Relationship Id="rId10" Type="http://schemas.openxmlformats.org/officeDocument/2006/relationships/slideLayout" Target="../slideLayouts/slideLayout563.xml"/><Relationship Id="rId31" Type="http://schemas.openxmlformats.org/officeDocument/2006/relationships/slideLayout" Target="../slideLayouts/slideLayout584.xml"/><Relationship Id="rId44" Type="http://schemas.openxmlformats.org/officeDocument/2006/relationships/slideLayout" Target="../slideLayouts/slideLayout597.xml"/><Relationship Id="rId52" Type="http://schemas.openxmlformats.org/officeDocument/2006/relationships/slideLayout" Target="../slideLayouts/slideLayout60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theme" Target="../theme/theme2.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8" Type="http://schemas.openxmlformats.org/officeDocument/2006/relationships/slideLayout" Target="../slideLayouts/slideLayout46.xml"/></Relationships>
</file>

<file path=ppt/slideMasters/_rels/slideMaster20.xml.rels><?xml version="1.0" encoding="UTF-8" standalone="yes"?>
<Relationships xmlns="http://schemas.openxmlformats.org/package/2006/relationships"><Relationship Id="rId13" Type="http://schemas.openxmlformats.org/officeDocument/2006/relationships/slideLayout" Target="../slideLayouts/slideLayout621.xml"/><Relationship Id="rId18" Type="http://schemas.openxmlformats.org/officeDocument/2006/relationships/slideLayout" Target="../slideLayouts/slideLayout626.xml"/><Relationship Id="rId26" Type="http://schemas.openxmlformats.org/officeDocument/2006/relationships/slideLayout" Target="../slideLayouts/slideLayout634.xml"/><Relationship Id="rId3" Type="http://schemas.openxmlformats.org/officeDocument/2006/relationships/slideLayout" Target="../slideLayouts/slideLayout611.xml"/><Relationship Id="rId21" Type="http://schemas.openxmlformats.org/officeDocument/2006/relationships/slideLayout" Target="../slideLayouts/slideLayout629.xml"/><Relationship Id="rId34" Type="http://schemas.openxmlformats.org/officeDocument/2006/relationships/theme" Target="../theme/theme20.xml"/><Relationship Id="rId7" Type="http://schemas.openxmlformats.org/officeDocument/2006/relationships/slideLayout" Target="../slideLayouts/slideLayout615.xml"/><Relationship Id="rId12" Type="http://schemas.openxmlformats.org/officeDocument/2006/relationships/slideLayout" Target="../slideLayouts/slideLayout620.xml"/><Relationship Id="rId17" Type="http://schemas.openxmlformats.org/officeDocument/2006/relationships/slideLayout" Target="../slideLayouts/slideLayout625.xml"/><Relationship Id="rId25" Type="http://schemas.openxmlformats.org/officeDocument/2006/relationships/slideLayout" Target="../slideLayouts/slideLayout633.xml"/><Relationship Id="rId33" Type="http://schemas.openxmlformats.org/officeDocument/2006/relationships/slideLayout" Target="../slideLayouts/slideLayout641.xml"/><Relationship Id="rId2" Type="http://schemas.openxmlformats.org/officeDocument/2006/relationships/slideLayout" Target="../slideLayouts/slideLayout610.xml"/><Relationship Id="rId16" Type="http://schemas.openxmlformats.org/officeDocument/2006/relationships/slideLayout" Target="../slideLayouts/slideLayout624.xml"/><Relationship Id="rId20" Type="http://schemas.openxmlformats.org/officeDocument/2006/relationships/slideLayout" Target="../slideLayouts/slideLayout628.xml"/><Relationship Id="rId29" Type="http://schemas.openxmlformats.org/officeDocument/2006/relationships/slideLayout" Target="../slideLayouts/slideLayout637.xml"/><Relationship Id="rId1" Type="http://schemas.openxmlformats.org/officeDocument/2006/relationships/slideLayout" Target="../slideLayouts/slideLayout609.xml"/><Relationship Id="rId6" Type="http://schemas.openxmlformats.org/officeDocument/2006/relationships/slideLayout" Target="../slideLayouts/slideLayout614.xml"/><Relationship Id="rId11" Type="http://schemas.openxmlformats.org/officeDocument/2006/relationships/slideLayout" Target="../slideLayouts/slideLayout619.xml"/><Relationship Id="rId24" Type="http://schemas.openxmlformats.org/officeDocument/2006/relationships/slideLayout" Target="../slideLayouts/slideLayout632.xml"/><Relationship Id="rId32" Type="http://schemas.openxmlformats.org/officeDocument/2006/relationships/slideLayout" Target="../slideLayouts/slideLayout640.xml"/><Relationship Id="rId5" Type="http://schemas.openxmlformats.org/officeDocument/2006/relationships/slideLayout" Target="../slideLayouts/slideLayout613.xml"/><Relationship Id="rId15" Type="http://schemas.openxmlformats.org/officeDocument/2006/relationships/slideLayout" Target="../slideLayouts/slideLayout623.xml"/><Relationship Id="rId23" Type="http://schemas.openxmlformats.org/officeDocument/2006/relationships/slideLayout" Target="../slideLayouts/slideLayout631.xml"/><Relationship Id="rId28" Type="http://schemas.openxmlformats.org/officeDocument/2006/relationships/slideLayout" Target="../slideLayouts/slideLayout636.xml"/><Relationship Id="rId10" Type="http://schemas.openxmlformats.org/officeDocument/2006/relationships/slideLayout" Target="../slideLayouts/slideLayout618.xml"/><Relationship Id="rId19" Type="http://schemas.openxmlformats.org/officeDocument/2006/relationships/slideLayout" Target="../slideLayouts/slideLayout627.xml"/><Relationship Id="rId31" Type="http://schemas.openxmlformats.org/officeDocument/2006/relationships/slideLayout" Target="../slideLayouts/slideLayout639.xml"/><Relationship Id="rId4" Type="http://schemas.openxmlformats.org/officeDocument/2006/relationships/slideLayout" Target="../slideLayouts/slideLayout612.xml"/><Relationship Id="rId9" Type="http://schemas.openxmlformats.org/officeDocument/2006/relationships/slideLayout" Target="../slideLayouts/slideLayout617.xml"/><Relationship Id="rId14" Type="http://schemas.openxmlformats.org/officeDocument/2006/relationships/slideLayout" Target="../slideLayouts/slideLayout622.xml"/><Relationship Id="rId22" Type="http://schemas.openxmlformats.org/officeDocument/2006/relationships/slideLayout" Target="../slideLayouts/slideLayout630.xml"/><Relationship Id="rId27" Type="http://schemas.openxmlformats.org/officeDocument/2006/relationships/slideLayout" Target="../slideLayouts/slideLayout635.xml"/><Relationship Id="rId30" Type="http://schemas.openxmlformats.org/officeDocument/2006/relationships/slideLayout" Target="../slideLayouts/slideLayout638.xml"/><Relationship Id="rId35" Type="http://schemas.openxmlformats.org/officeDocument/2006/relationships/image" Target="../media/image34.emf"/><Relationship Id="rId8" Type="http://schemas.openxmlformats.org/officeDocument/2006/relationships/slideLayout" Target="../slideLayouts/slideLayout6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34" Type="http://schemas.openxmlformats.org/officeDocument/2006/relationships/theme" Target="../theme/theme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image" Target="../media/image34.emf"/><Relationship Id="rId8" Type="http://schemas.openxmlformats.org/officeDocument/2006/relationships/slideLayout" Target="../slideLayouts/slideLayout7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39" Type="http://schemas.openxmlformats.org/officeDocument/2006/relationships/slideLayout" Target="../slideLayouts/slideLayout142.xml"/><Relationship Id="rId21" Type="http://schemas.openxmlformats.org/officeDocument/2006/relationships/slideLayout" Target="../slideLayouts/slideLayout124.xml"/><Relationship Id="rId34" Type="http://schemas.openxmlformats.org/officeDocument/2006/relationships/slideLayout" Target="../slideLayouts/slideLayout137.xml"/><Relationship Id="rId42" Type="http://schemas.openxmlformats.org/officeDocument/2006/relationships/slideLayout" Target="../slideLayouts/slideLayout145.xml"/><Relationship Id="rId7" Type="http://schemas.openxmlformats.org/officeDocument/2006/relationships/slideLayout" Target="../slideLayouts/slideLayout110.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29" Type="http://schemas.openxmlformats.org/officeDocument/2006/relationships/slideLayout" Target="../slideLayouts/slideLayout132.xml"/><Relationship Id="rId41" Type="http://schemas.openxmlformats.org/officeDocument/2006/relationships/slideLayout" Target="../slideLayouts/slideLayout144.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32" Type="http://schemas.openxmlformats.org/officeDocument/2006/relationships/slideLayout" Target="../slideLayouts/slideLayout135.xml"/><Relationship Id="rId37" Type="http://schemas.openxmlformats.org/officeDocument/2006/relationships/slideLayout" Target="../slideLayouts/slideLayout140.xml"/><Relationship Id="rId40" Type="http://schemas.openxmlformats.org/officeDocument/2006/relationships/slideLayout" Target="../slideLayouts/slideLayout143.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slideLayout" Target="../slideLayouts/slideLayout131.xml"/><Relationship Id="rId36" Type="http://schemas.openxmlformats.org/officeDocument/2006/relationships/slideLayout" Target="../slideLayouts/slideLayout139.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31" Type="http://schemas.openxmlformats.org/officeDocument/2006/relationships/slideLayout" Target="../slideLayouts/slideLayout134.xml"/><Relationship Id="rId44" Type="http://schemas.openxmlformats.org/officeDocument/2006/relationships/image" Target="../media/image34.emf"/><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slideLayout" Target="../slideLayouts/slideLayout130.xml"/><Relationship Id="rId30" Type="http://schemas.openxmlformats.org/officeDocument/2006/relationships/slideLayout" Target="../slideLayouts/slideLayout133.xml"/><Relationship Id="rId35" Type="http://schemas.openxmlformats.org/officeDocument/2006/relationships/slideLayout" Target="../slideLayouts/slideLayout138.xml"/><Relationship Id="rId43" Type="http://schemas.openxmlformats.org/officeDocument/2006/relationships/theme" Target="../theme/theme4.xml"/><Relationship Id="rId8" Type="http://schemas.openxmlformats.org/officeDocument/2006/relationships/slideLayout" Target="../slideLayouts/slideLayout111.xml"/><Relationship Id="rId3" Type="http://schemas.openxmlformats.org/officeDocument/2006/relationships/slideLayout" Target="../slideLayouts/slideLayout106.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33" Type="http://schemas.openxmlformats.org/officeDocument/2006/relationships/slideLayout" Target="../slideLayouts/slideLayout136.xml"/><Relationship Id="rId38" Type="http://schemas.openxmlformats.org/officeDocument/2006/relationships/slideLayout" Target="../slideLayouts/slideLayout14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34" Type="http://schemas.openxmlformats.org/officeDocument/2006/relationships/image" Target="../media/image44.png"/><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theme" Target="../theme/theme5.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29" Type="http://schemas.openxmlformats.org/officeDocument/2006/relationships/slideLayout" Target="../slideLayouts/slideLayout174.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slideLayout" Target="../slideLayouts/slideLayout177.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slideLayout" Target="../slideLayouts/slideLayout176.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8" Type="http://schemas.openxmlformats.org/officeDocument/2006/relationships/slideLayout" Target="../slideLayouts/slideLayout15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90.xml"/><Relationship Id="rId18" Type="http://schemas.openxmlformats.org/officeDocument/2006/relationships/slideLayout" Target="../slideLayouts/slideLayout195.xml"/><Relationship Id="rId26" Type="http://schemas.openxmlformats.org/officeDocument/2006/relationships/slideLayout" Target="../slideLayouts/slideLayout203.xml"/><Relationship Id="rId39" Type="http://schemas.openxmlformats.org/officeDocument/2006/relationships/slideLayout" Target="../slideLayouts/slideLayout216.xml"/><Relationship Id="rId21" Type="http://schemas.openxmlformats.org/officeDocument/2006/relationships/slideLayout" Target="../slideLayouts/slideLayout198.xml"/><Relationship Id="rId34" Type="http://schemas.openxmlformats.org/officeDocument/2006/relationships/slideLayout" Target="../slideLayouts/slideLayout211.xml"/><Relationship Id="rId42" Type="http://schemas.openxmlformats.org/officeDocument/2006/relationships/slideLayout" Target="../slideLayouts/slideLayout219.xml"/><Relationship Id="rId7" Type="http://schemas.openxmlformats.org/officeDocument/2006/relationships/slideLayout" Target="../slideLayouts/slideLayout184.xml"/><Relationship Id="rId2" Type="http://schemas.openxmlformats.org/officeDocument/2006/relationships/slideLayout" Target="../slideLayouts/slideLayout179.xml"/><Relationship Id="rId16" Type="http://schemas.openxmlformats.org/officeDocument/2006/relationships/slideLayout" Target="../slideLayouts/slideLayout193.xml"/><Relationship Id="rId20" Type="http://schemas.openxmlformats.org/officeDocument/2006/relationships/slideLayout" Target="../slideLayouts/slideLayout197.xml"/><Relationship Id="rId29" Type="http://schemas.openxmlformats.org/officeDocument/2006/relationships/slideLayout" Target="../slideLayouts/slideLayout206.xml"/><Relationship Id="rId41" Type="http://schemas.openxmlformats.org/officeDocument/2006/relationships/slideLayout" Target="../slideLayouts/slideLayout218.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24" Type="http://schemas.openxmlformats.org/officeDocument/2006/relationships/slideLayout" Target="../slideLayouts/slideLayout201.xml"/><Relationship Id="rId32" Type="http://schemas.openxmlformats.org/officeDocument/2006/relationships/slideLayout" Target="../slideLayouts/slideLayout209.xml"/><Relationship Id="rId37" Type="http://schemas.openxmlformats.org/officeDocument/2006/relationships/slideLayout" Target="../slideLayouts/slideLayout214.xml"/><Relationship Id="rId40" Type="http://schemas.openxmlformats.org/officeDocument/2006/relationships/slideLayout" Target="../slideLayouts/slideLayout217.xml"/><Relationship Id="rId5" Type="http://schemas.openxmlformats.org/officeDocument/2006/relationships/slideLayout" Target="../slideLayouts/slideLayout182.xml"/><Relationship Id="rId15" Type="http://schemas.openxmlformats.org/officeDocument/2006/relationships/slideLayout" Target="../slideLayouts/slideLayout192.xml"/><Relationship Id="rId23" Type="http://schemas.openxmlformats.org/officeDocument/2006/relationships/slideLayout" Target="../slideLayouts/slideLayout200.xml"/><Relationship Id="rId28" Type="http://schemas.openxmlformats.org/officeDocument/2006/relationships/slideLayout" Target="../slideLayouts/slideLayout205.xml"/><Relationship Id="rId36" Type="http://schemas.openxmlformats.org/officeDocument/2006/relationships/slideLayout" Target="../slideLayouts/slideLayout213.xml"/><Relationship Id="rId10" Type="http://schemas.openxmlformats.org/officeDocument/2006/relationships/slideLayout" Target="../slideLayouts/slideLayout187.xml"/><Relationship Id="rId19" Type="http://schemas.openxmlformats.org/officeDocument/2006/relationships/slideLayout" Target="../slideLayouts/slideLayout196.xml"/><Relationship Id="rId31" Type="http://schemas.openxmlformats.org/officeDocument/2006/relationships/slideLayout" Target="../slideLayouts/slideLayout208.xml"/><Relationship Id="rId44" Type="http://schemas.openxmlformats.org/officeDocument/2006/relationships/image" Target="../media/image34.emf"/><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 Id="rId22" Type="http://schemas.openxmlformats.org/officeDocument/2006/relationships/slideLayout" Target="../slideLayouts/slideLayout199.xml"/><Relationship Id="rId27" Type="http://schemas.openxmlformats.org/officeDocument/2006/relationships/slideLayout" Target="../slideLayouts/slideLayout204.xml"/><Relationship Id="rId30" Type="http://schemas.openxmlformats.org/officeDocument/2006/relationships/slideLayout" Target="../slideLayouts/slideLayout207.xml"/><Relationship Id="rId35" Type="http://schemas.openxmlformats.org/officeDocument/2006/relationships/slideLayout" Target="../slideLayouts/slideLayout212.xml"/><Relationship Id="rId43" Type="http://schemas.openxmlformats.org/officeDocument/2006/relationships/theme" Target="../theme/theme6.xml"/><Relationship Id="rId8" Type="http://schemas.openxmlformats.org/officeDocument/2006/relationships/slideLayout" Target="../slideLayouts/slideLayout185.xml"/><Relationship Id="rId3" Type="http://schemas.openxmlformats.org/officeDocument/2006/relationships/slideLayout" Target="../slideLayouts/slideLayout180.xml"/><Relationship Id="rId12" Type="http://schemas.openxmlformats.org/officeDocument/2006/relationships/slideLayout" Target="../slideLayouts/slideLayout189.xml"/><Relationship Id="rId17" Type="http://schemas.openxmlformats.org/officeDocument/2006/relationships/slideLayout" Target="../slideLayouts/slideLayout194.xml"/><Relationship Id="rId25" Type="http://schemas.openxmlformats.org/officeDocument/2006/relationships/slideLayout" Target="../slideLayouts/slideLayout202.xml"/><Relationship Id="rId33" Type="http://schemas.openxmlformats.org/officeDocument/2006/relationships/slideLayout" Target="../slideLayouts/slideLayout210.xml"/><Relationship Id="rId38" Type="http://schemas.openxmlformats.org/officeDocument/2006/relationships/slideLayout" Target="../slideLayouts/slideLayout215.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32.xml"/><Relationship Id="rId18" Type="http://schemas.openxmlformats.org/officeDocument/2006/relationships/slideLayout" Target="../slideLayouts/slideLayout237.xml"/><Relationship Id="rId26" Type="http://schemas.openxmlformats.org/officeDocument/2006/relationships/slideLayout" Target="../slideLayouts/slideLayout245.xml"/><Relationship Id="rId39" Type="http://schemas.openxmlformats.org/officeDocument/2006/relationships/theme" Target="../theme/theme7.xml"/><Relationship Id="rId21" Type="http://schemas.openxmlformats.org/officeDocument/2006/relationships/slideLayout" Target="../slideLayouts/slideLayout240.xml"/><Relationship Id="rId34" Type="http://schemas.openxmlformats.org/officeDocument/2006/relationships/slideLayout" Target="../slideLayouts/slideLayout253.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17" Type="http://schemas.openxmlformats.org/officeDocument/2006/relationships/slideLayout" Target="../slideLayouts/slideLayout236.xml"/><Relationship Id="rId25" Type="http://schemas.openxmlformats.org/officeDocument/2006/relationships/slideLayout" Target="../slideLayouts/slideLayout244.xml"/><Relationship Id="rId33" Type="http://schemas.openxmlformats.org/officeDocument/2006/relationships/slideLayout" Target="../slideLayouts/slideLayout252.xml"/><Relationship Id="rId38" Type="http://schemas.openxmlformats.org/officeDocument/2006/relationships/slideLayout" Target="../slideLayouts/slideLayout257.xml"/><Relationship Id="rId2" Type="http://schemas.openxmlformats.org/officeDocument/2006/relationships/slideLayout" Target="../slideLayouts/slideLayout221.xml"/><Relationship Id="rId16" Type="http://schemas.openxmlformats.org/officeDocument/2006/relationships/slideLayout" Target="../slideLayouts/slideLayout235.xml"/><Relationship Id="rId20" Type="http://schemas.openxmlformats.org/officeDocument/2006/relationships/slideLayout" Target="../slideLayouts/slideLayout239.xml"/><Relationship Id="rId29" Type="http://schemas.openxmlformats.org/officeDocument/2006/relationships/slideLayout" Target="../slideLayouts/slideLayout248.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24" Type="http://schemas.openxmlformats.org/officeDocument/2006/relationships/slideLayout" Target="../slideLayouts/slideLayout243.xml"/><Relationship Id="rId32" Type="http://schemas.openxmlformats.org/officeDocument/2006/relationships/slideLayout" Target="../slideLayouts/slideLayout251.xml"/><Relationship Id="rId37" Type="http://schemas.openxmlformats.org/officeDocument/2006/relationships/slideLayout" Target="../slideLayouts/slideLayout256.xml"/><Relationship Id="rId40" Type="http://schemas.openxmlformats.org/officeDocument/2006/relationships/image" Target="../media/image34.emf"/><Relationship Id="rId5" Type="http://schemas.openxmlformats.org/officeDocument/2006/relationships/slideLayout" Target="../slideLayouts/slideLayout224.xml"/><Relationship Id="rId15" Type="http://schemas.openxmlformats.org/officeDocument/2006/relationships/slideLayout" Target="../slideLayouts/slideLayout234.xml"/><Relationship Id="rId23" Type="http://schemas.openxmlformats.org/officeDocument/2006/relationships/slideLayout" Target="../slideLayouts/slideLayout242.xml"/><Relationship Id="rId28" Type="http://schemas.openxmlformats.org/officeDocument/2006/relationships/slideLayout" Target="../slideLayouts/slideLayout247.xml"/><Relationship Id="rId36" Type="http://schemas.openxmlformats.org/officeDocument/2006/relationships/slideLayout" Target="../slideLayouts/slideLayout255.xml"/><Relationship Id="rId10" Type="http://schemas.openxmlformats.org/officeDocument/2006/relationships/slideLayout" Target="../slideLayouts/slideLayout229.xml"/><Relationship Id="rId19" Type="http://schemas.openxmlformats.org/officeDocument/2006/relationships/slideLayout" Target="../slideLayouts/slideLayout238.xml"/><Relationship Id="rId31" Type="http://schemas.openxmlformats.org/officeDocument/2006/relationships/slideLayout" Target="../slideLayouts/slideLayout250.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 Id="rId22" Type="http://schemas.openxmlformats.org/officeDocument/2006/relationships/slideLayout" Target="../slideLayouts/slideLayout241.xml"/><Relationship Id="rId27" Type="http://schemas.openxmlformats.org/officeDocument/2006/relationships/slideLayout" Target="../slideLayouts/slideLayout246.xml"/><Relationship Id="rId30" Type="http://schemas.openxmlformats.org/officeDocument/2006/relationships/slideLayout" Target="../slideLayouts/slideLayout249.xml"/><Relationship Id="rId35" Type="http://schemas.openxmlformats.org/officeDocument/2006/relationships/slideLayout" Target="../slideLayouts/slideLayout254.xml"/><Relationship Id="rId8" Type="http://schemas.openxmlformats.org/officeDocument/2006/relationships/slideLayout" Target="../slideLayouts/slideLayout227.xml"/><Relationship Id="rId3" Type="http://schemas.openxmlformats.org/officeDocument/2006/relationships/slideLayout" Target="../slideLayouts/slideLayout22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65.xml"/><Relationship Id="rId3" Type="http://schemas.openxmlformats.org/officeDocument/2006/relationships/slideLayout" Target="../slideLayouts/slideLayout260.xml"/><Relationship Id="rId7" Type="http://schemas.openxmlformats.org/officeDocument/2006/relationships/slideLayout" Target="../slideLayouts/slideLayout264.xml"/><Relationship Id="rId2" Type="http://schemas.openxmlformats.org/officeDocument/2006/relationships/slideLayout" Target="../slideLayouts/slideLayout259.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image" Target="../media/image44.png"/><Relationship Id="rId5" Type="http://schemas.openxmlformats.org/officeDocument/2006/relationships/slideLayout" Target="../slideLayouts/slideLayout262.xml"/><Relationship Id="rId10" Type="http://schemas.openxmlformats.org/officeDocument/2006/relationships/theme" Target="../theme/theme8.xml"/><Relationship Id="rId4" Type="http://schemas.openxmlformats.org/officeDocument/2006/relationships/slideLayout" Target="../slideLayouts/slideLayout261.xml"/><Relationship Id="rId9" Type="http://schemas.openxmlformats.org/officeDocument/2006/relationships/slideLayout" Target="../slideLayouts/slideLayout26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slideLayout" Target="../slideLayouts/slideLayout279.xml"/><Relationship Id="rId18" Type="http://schemas.openxmlformats.org/officeDocument/2006/relationships/slideLayout" Target="../slideLayouts/slideLayout284.xml"/><Relationship Id="rId26" Type="http://schemas.openxmlformats.org/officeDocument/2006/relationships/slideLayout" Target="../slideLayouts/slideLayout292.xml"/><Relationship Id="rId3" Type="http://schemas.openxmlformats.org/officeDocument/2006/relationships/slideLayout" Target="../slideLayouts/slideLayout269.xml"/><Relationship Id="rId21" Type="http://schemas.openxmlformats.org/officeDocument/2006/relationships/slideLayout" Target="../slideLayouts/slideLayout287.xml"/><Relationship Id="rId7" Type="http://schemas.openxmlformats.org/officeDocument/2006/relationships/slideLayout" Target="../slideLayouts/slideLayout273.xml"/><Relationship Id="rId12" Type="http://schemas.openxmlformats.org/officeDocument/2006/relationships/slideLayout" Target="../slideLayouts/slideLayout278.xml"/><Relationship Id="rId17" Type="http://schemas.openxmlformats.org/officeDocument/2006/relationships/slideLayout" Target="../slideLayouts/slideLayout283.xml"/><Relationship Id="rId25" Type="http://schemas.openxmlformats.org/officeDocument/2006/relationships/slideLayout" Target="../slideLayouts/slideLayout291.xml"/><Relationship Id="rId2" Type="http://schemas.openxmlformats.org/officeDocument/2006/relationships/slideLayout" Target="../slideLayouts/slideLayout268.xml"/><Relationship Id="rId16" Type="http://schemas.openxmlformats.org/officeDocument/2006/relationships/slideLayout" Target="../slideLayouts/slideLayout282.xml"/><Relationship Id="rId20" Type="http://schemas.openxmlformats.org/officeDocument/2006/relationships/slideLayout" Target="../slideLayouts/slideLayout286.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24" Type="http://schemas.openxmlformats.org/officeDocument/2006/relationships/slideLayout" Target="../slideLayouts/slideLayout290.xml"/><Relationship Id="rId5" Type="http://schemas.openxmlformats.org/officeDocument/2006/relationships/slideLayout" Target="../slideLayouts/slideLayout271.xml"/><Relationship Id="rId15" Type="http://schemas.openxmlformats.org/officeDocument/2006/relationships/slideLayout" Target="../slideLayouts/slideLayout281.xml"/><Relationship Id="rId23" Type="http://schemas.openxmlformats.org/officeDocument/2006/relationships/slideLayout" Target="../slideLayouts/slideLayout289.xml"/><Relationship Id="rId10" Type="http://schemas.openxmlformats.org/officeDocument/2006/relationships/slideLayout" Target="../slideLayouts/slideLayout276.xml"/><Relationship Id="rId19" Type="http://schemas.openxmlformats.org/officeDocument/2006/relationships/slideLayout" Target="../slideLayouts/slideLayout285.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slideLayout" Target="../slideLayouts/slideLayout280.xml"/><Relationship Id="rId22" Type="http://schemas.openxmlformats.org/officeDocument/2006/relationships/slideLayout" Target="../slideLayouts/slideLayout288.xml"/><Relationship Id="rId27"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spTree>
    <p:extLst>
      <p:ext uri="{BB962C8B-B14F-4D97-AF65-F5344CB8AC3E}">
        <p14:creationId xmlns:p14="http://schemas.microsoft.com/office/powerpoint/2010/main" val="1014853180"/>
      </p:ext>
    </p:extLst>
  </p:cSld>
  <p:clrMap bg1="lt1" tx1="dk1" bg2="lt2" tx2="dk2" accent1="accent1" accent2="accent2" accent3="accent3" accent4="accent4" accent5="accent5" accent6="accent6" hlink="hlink" folHlink="folHlink"/>
  <p:sldLayoutIdLst>
    <p:sldLayoutId id="2147485597" r:id="rId1"/>
    <p:sldLayoutId id="2147485598" r:id="rId2"/>
    <p:sldLayoutId id="2147485599" r:id="rId3"/>
    <p:sldLayoutId id="2147485600" r:id="rId4"/>
    <p:sldLayoutId id="2147485601" r:id="rId5"/>
    <p:sldLayoutId id="2147485602" r:id="rId6"/>
    <p:sldLayoutId id="2147485603" r:id="rId7"/>
    <p:sldLayoutId id="2147485604" r:id="rId8"/>
    <p:sldLayoutId id="2147485605" r:id="rId9"/>
    <p:sldLayoutId id="2147485606" r:id="rId10"/>
    <p:sldLayoutId id="2147485607" r:id="rId11"/>
    <p:sldLayoutId id="2147485608" r:id="rId12"/>
    <p:sldLayoutId id="2147485609" r:id="rId13"/>
    <p:sldLayoutId id="2147485610" r:id="rId14"/>
    <p:sldLayoutId id="2147485611" r:id="rId15"/>
    <p:sldLayoutId id="2147485612" r:id="rId16"/>
    <p:sldLayoutId id="2147485613" r:id="rId17"/>
    <p:sldLayoutId id="2147485614" r:id="rId18"/>
    <p:sldLayoutId id="2147485615" r:id="rId19"/>
    <p:sldLayoutId id="2147485616" r:id="rId20"/>
    <p:sldLayoutId id="2147485617" r:id="rId21"/>
    <p:sldLayoutId id="2147485618" r:id="rId22"/>
    <p:sldLayoutId id="2147485619" r:id="rId23"/>
    <p:sldLayoutId id="2147485620" r:id="rId24"/>
    <p:sldLayoutId id="2147485621" r:id="rId25"/>
    <p:sldLayoutId id="2147485622" r:id="rId26"/>
    <p:sldLayoutId id="2147485623" r:id="rId27"/>
    <p:sldLayoutId id="2147485624" r:id="rId28"/>
    <p:sldLayoutId id="2147485625" r:id="rId29"/>
    <p:sldLayoutId id="2147485626" r:id="rId30"/>
    <p:sldLayoutId id="2147485627" r:id="rId31"/>
    <p:sldLayoutId id="2147485628" r:id="rId32"/>
    <p:sldLayoutId id="2147485629" r:id="rId33"/>
    <p:sldLayoutId id="2147485630" r:id="rId34"/>
    <p:sldLayoutId id="2147485631" r:id="rId35"/>
    <p:sldLayoutId id="2147485636" r:id="rId36"/>
    <p:sldLayoutId id="2147485637" r:id="rId37"/>
    <p:sldLayoutId id="2147485808" r:id="rId38"/>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2">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2"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78115393"/>
      </p:ext>
    </p:extLst>
  </p:cSld>
  <p:clrMap bg1="lt1" tx1="dk1" bg2="lt2" tx2="dk2" accent1="accent1" accent2="accent2" accent3="accent3" accent4="accent4" accent5="accent5" accent6="accent6" hlink="hlink" folHlink="folHlink"/>
  <p:sldLayoutIdLst>
    <p:sldLayoutId id="2147485914" r:id="rId1"/>
    <p:sldLayoutId id="2147485915" r:id="rId2"/>
    <p:sldLayoutId id="2147485916" r:id="rId3"/>
    <p:sldLayoutId id="2147485917" r:id="rId4"/>
    <p:sldLayoutId id="2147485918" r:id="rId5"/>
    <p:sldLayoutId id="2147485919" r:id="rId6"/>
    <p:sldLayoutId id="2147485920" r:id="rId7"/>
    <p:sldLayoutId id="2147485921" r:id="rId8"/>
    <p:sldLayoutId id="2147485922" r:id="rId9"/>
    <p:sldLayoutId id="2147485923" r:id="rId10"/>
    <p:sldLayoutId id="2147485924" r:id="rId11"/>
    <p:sldLayoutId id="2147485925" r:id="rId12"/>
    <p:sldLayoutId id="2147485926" r:id="rId13"/>
    <p:sldLayoutId id="2147485927" r:id="rId14"/>
    <p:sldLayoutId id="2147485928" r:id="rId15"/>
    <p:sldLayoutId id="2147485929" r:id="rId16"/>
    <p:sldLayoutId id="2147485930" r:id="rId17"/>
    <p:sldLayoutId id="2147485931" r:id="rId18"/>
    <p:sldLayoutId id="2147485932" r:id="rId19"/>
    <p:sldLayoutId id="2147485933" r:id="rId20"/>
    <p:sldLayoutId id="2147485934" r:id="rId21"/>
    <p:sldLayoutId id="2147485935" r:id="rId22"/>
    <p:sldLayoutId id="2147485936" r:id="rId23"/>
    <p:sldLayoutId id="2147485937" r:id="rId24"/>
    <p:sldLayoutId id="2147485938" r:id="rId25"/>
    <p:sldLayoutId id="2147485939" r:id="rId26"/>
    <p:sldLayoutId id="2147485940" r:id="rId27"/>
    <p:sldLayoutId id="2147485941" r:id="rId28"/>
    <p:sldLayoutId id="2147485942" r:id="rId29"/>
    <p:sldLayoutId id="2147485943" r:id="rId30"/>
  </p:sldLayoutIdLst>
  <p:transition>
    <p:fade/>
  </p:transition>
  <p:hf sldNum="0" hdr="0" ftr="0" dt="0"/>
  <p:txStyles>
    <p:titleStyle>
      <a:lvl1pPr algn="l" defTabSz="932575"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9" marR="0" indent="-228559" algn="l" defTabSz="93257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7" marR="0" indent="-228559" algn="l" defTabSz="93257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107" marR="0" indent="-199989" algn="l" defTabSz="93257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11" marR="0" indent="-180942" algn="l" defTabSz="93257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54" marR="0" indent="-168245" algn="l" defTabSz="932575"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78" indent="-233143" algn="l" defTabSz="93257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66" indent="-233143" algn="l" defTabSz="93257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54" indent="-233143" algn="l" defTabSz="93257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442" indent="-233143" algn="l" defTabSz="93257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75" rtl="0" eaLnBrk="1" latinLnBrk="0" hangingPunct="1">
        <a:defRPr sz="1800" kern="1200">
          <a:solidFill>
            <a:schemeClr val="tx1"/>
          </a:solidFill>
          <a:latin typeface="+mn-lt"/>
          <a:ea typeface="+mn-ea"/>
          <a:cs typeface="+mn-cs"/>
        </a:defRPr>
      </a:lvl1pPr>
      <a:lvl2pPr marL="466288" algn="l" defTabSz="932575" rtl="0" eaLnBrk="1" latinLnBrk="0" hangingPunct="1">
        <a:defRPr sz="1800" kern="1200">
          <a:solidFill>
            <a:schemeClr val="tx1"/>
          </a:solidFill>
          <a:latin typeface="+mn-lt"/>
          <a:ea typeface="+mn-ea"/>
          <a:cs typeface="+mn-cs"/>
        </a:defRPr>
      </a:lvl2pPr>
      <a:lvl3pPr marL="932575" algn="l" defTabSz="932575" rtl="0" eaLnBrk="1" latinLnBrk="0" hangingPunct="1">
        <a:defRPr sz="1800" kern="1200">
          <a:solidFill>
            <a:schemeClr val="tx1"/>
          </a:solidFill>
          <a:latin typeface="+mn-lt"/>
          <a:ea typeface="+mn-ea"/>
          <a:cs typeface="+mn-cs"/>
        </a:defRPr>
      </a:lvl3pPr>
      <a:lvl4pPr marL="1398861" algn="l" defTabSz="932575" rtl="0" eaLnBrk="1" latinLnBrk="0" hangingPunct="1">
        <a:defRPr sz="1800" kern="1200">
          <a:solidFill>
            <a:schemeClr val="tx1"/>
          </a:solidFill>
          <a:latin typeface="+mn-lt"/>
          <a:ea typeface="+mn-ea"/>
          <a:cs typeface="+mn-cs"/>
        </a:defRPr>
      </a:lvl4pPr>
      <a:lvl5pPr marL="1865148" algn="l" defTabSz="932575" rtl="0" eaLnBrk="1" latinLnBrk="0" hangingPunct="1">
        <a:defRPr sz="1800" kern="1200">
          <a:solidFill>
            <a:schemeClr val="tx1"/>
          </a:solidFill>
          <a:latin typeface="+mn-lt"/>
          <a:ea typeface="+mn-ea"/>
          <a:cs typeface="+mn-cs"/>
        </a:defRPr>
      </a:lvl5pPr>
      <a:lvl6pPr marL="2331436" algn="l" defTabSz="932575" rtl="0" eaLnBrk="1" latinLnBrk="0" hangingPunct="1">
        <a:defRPr sz="1800" kern="1200">
          <a:solidFill>
            <a:schemeClr val="tx1"/>
          </a:solidFill>
          <a:latin typeface="+mn-lt"/>
          <a:ea typeface="+mn-ea"/>
          <a:cs typeface="+mn-cs"/>
        </a:defRPr>
      </a:lvl6pPr>
      <a:lvl7pPr marL="2797722" algn="l" defTabSz="932575" rtl="0" eaLnBrk="1" latinLnBrk="0" hangingPunct="1">
        <a:defRPr sz="1800" kern="1200">
          <a:solidFill>
            <a:schemeClr val="tx1"/>
          </a:solidFill>
          <a:latin typeface="+mn-lt"/>
          <a:ea typeface="+mn-ea"/>
          <a:cs typeface="+mn-cs"/>
        </a:defRPr>
      </a:lvl7pPr>
      <a:lvl8pPr marL="3264009" algn="l" defTabSz="932575" rtl="0" eaLnBrk="1" latinLnBrk="0" hangingPunct="1">
        <a:defRPr sz="1800" kern="1200">
          <a:solidFill>
            <a:schemeClr val="tx1"/>
          </a:solidFill>
          <a:latin typeface="+mn-lt"/>
          <a:ea typeface="+mn-ea"/>
          <a:cs typeface="+mn-cs"/>
        </a:defRPr>
      </a:lvl8pPr>
      <a:lvl9pPr marL="3730296" algn="l" defTabSz="93257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3363472676"/>
      </p:ext>
    </p:extLst>
  </p:cSld>
  <p:clrMap bg1="lt1" tx1="dk1" bg2="lt2" tx2="dk2" accent1="accent1" accent2="accent2" accent3="accent3" accent4="accent4" accent5="accent5" accent6="accent6" hlink="hlink" folHlink="folHlink"/>
  <p:sldLayoutIdLst>
    <p:sldLayoutId id="2147485945" r:id="rId1"/>
    <p:sldLayoutId id="2147485946" r:id="rId2"/>
    <p:sldLayoutId id="2147485947" r:id="rId3"/>
    <p:sldLayoutId id="2147485948" r:id="rId4"/>
    <p:sldLayoutId id="2147485949" r:id="rId5"/>
    <p:sldLayoutId id="2147485950" r:id="rId6"/>
    <p:sldLayoutId id="2147485951" r:id="rId7"/>
    <p:sldLayoutId id="2147485952" r:id="rId8"/>
    <p:sldLayoutId id="2147485953" r:id="rId9"/>
    <p:sldLayoutId id="2147485954" r:id="rId10"/>
    <p:sldLayoutId id="2147485955" r:id="rId11"/>
    <p:sldLayoutId id="2147485956" r:id="rId12"/>
    <p:sldLayoutId id="2147485957" r:id="rId13"/>
    <p:sldLayoutId id="2147485958" r:id="rId14"/>
    <p:sldLayoutId id="2147485959" r:id="rId15"/>
    <p:sldLayoutId id="2147485960" r:id="rId16"/>
    <p:sldLayoutId id="2147485961" r:id="rId17"/>
    <p:sldLayoutId id="2147485962" r:id="rId18"/>
    <p:sldLayoutId id="2147485963" r:id="rId19"/>
    <p:sldLayoutId id="2147485964" r:id="rId20"/>
    <p:sldLayoutId id="2147485965" r:id="rId21"/>
    <p:sldLayoutId id="2147485966" r:id="rId22"/>
    <p:sldLayoutId id="2147485967" r:id="rId23"/>
    <p:sldLayoutId id="2147485968" r:id="rId24"/>
    <p:sldLayoutId id="2147485969" r:id="rId25"/>
    <p:sldLayoutId id="2147485970" r:id="rId26"/>
    <p:sldLayoutId id="2147485971" r:id="rId27"/>
    <p:sldLayoutId id="2147485972" r:id="rId28"/>
    <p:sldLayoutId id="2147485973" r:id="rId29"/>
    <p:sldLayoutId id="2147485974" r:id="rId30"/>
    <p:sldLayoutId id="2147485975" r:id="rId31"/>
    <p:sldLayoutId id="2147485976" r:id="rId32"/>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3"/>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2"/>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3959855153"/>
      </p:ext>
    </p:extLst>
  </p:cSld>
  <p:clrMap bg1="lt1" tx1="dk1" bg2="lt2" tx2="dk2" accent1="accent1" accent2="accent2" accent3="accent3" accent4="accent4" accent5="accent5" accent6="accent6" hlink="hlink" folHlink="folHlink"/>
  <p:sldLayoutIdLst>
    <p:sldLayoutId id="2147486014" r:id="rId1"/>
    <p:sldLayoutId id="2147486015" r:id="rId2"/>
    <p:sldLayoutId id="2147486016" r:id="rId3"/>
    <p:sldLayoutId id="2147486017" r:id="rId4"/>
    <p:sldLayoutId id="2147486018" r:id="rId5"/>
    <p:sldLayoutId id="2147486019" r:id="rId6"/>
    <p:sldLayoutId id="2147486020" r:id="rId7"/>
    <p:sldLayoutId id="2147486021" r:id="rId8"/>
    <p:sldLayoutId id="2147486022" r:id="rId9"/>
    <p:sldLayoutId id="2147486023" r:id="rId10"/>
    <p:sldLayoutId id="2147486024" r:id="rId11"/>
    <p:sldLayoutId id="2147486025" r:id="rId12"/>
    <p:sldLayoutId id="2147486026" r:id="rId13"/>
    <p:sldLayoutId id="2147486027" r:id="rId14"/>
    <p:sldLayoutId id="2147486028" r:id="rId15"/>
    <p:sldLayoutId id="2147486029" r:id="rId16"/>
    <p:sldLayoutId id="2147486030" r:id="rId17"/>
    <p:sldLayoutId id="2147486031" r:id="rId18"/>
    <p:sldLayoutId id="2147486032" r:id="rId19"/>
    <p:sldLayoutId id="2147486033" r:id="rId20"/>
    <p:sldLayoutId id="2147486034" r:id="rId21"/>
    <p:sldLayoutId id="2147486035" r:id="rId22"/>
    <p:sldLayoutId id="2147486036" r:id="rId23"/>
    <p:sldLayoutId id="2147486037" r:id="rId24"/>
    <p:sldLayoutId id="2147486038" r:id="rId25"/>
    <p:sldLayoutId id="2147486039" r:id="rId26"/>
    <p:sldLayoutId id="2147486040" r:id="rId27"/>
    <p:sldLayoutId id="2147486041" r:id="rId28"/>
    <p:sldLayoutId id="2147486042" r:id="rId29"/>
    <p:sldLayoutId id="2147486043" r:id="rId30"/>
    <p:sldLayoutId id="2147486044" r:id="rId31"/>
    <p:sldLayoutId id="2147486045" r:id="rId32"/>
    <p:sldLayoutId id="2147486046" r:id="rId33"/>
  </p:sldLayoutIdLst>
  <p:transition>
    <p:fade/>
  </p:transition>
  <p:hf hdr="0" dt="0"/>
  <p:txStyles>
    <p:titleStyle>
      <a:lvl1pPr algn="l" defTabSz="914093" rtl="0" eaLnBrk="1" latinLnBrk="0" hangingPunct="1">
        <a:lnSpc>
          <a:spcPct val="90000"/>
        </a:lnSpc>
        <a:spcBef>
          <a:spcPct val="0"/>
        </a:spcBef>
        <a:buNone/>
        <a:defRPr lang="en-US" sz="2744"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093" rtl="0" eaLnBrk="1" fontAlgn="auto" latinLnBrk="0" hangingPunct="1">
        <a:lnSpc>
          <a:spcPct val="100000"/>
        </a:lnSpc>
        <a:spcBef>
          <a:spcPts val="0"/>
        </a:spcBef>
        <a:spcAft>
          <a:spcPts val="0"/>
        </a:spcAft>
        <a:buClrTx/>
        <a:buSzPct val="90000"/>
        <a:buFont typeface="Wingdings" panose="05000000000000000000" pitchFamily="2" charset="2"/>
        <a:buNone/>
        <a:tabLst/>
        <a:defRPr sz="2352" kern="1200" spc="-49" baseline="0">
          <a:solidFill>
            <a:srgbClr val="000000"/>
          </a:solidFill>
          <a:latin typeface="+mj-lt"/>
          <a:ea typeface="+mn-ea"/>
          <a:cs typeface="+mn-cs"/>
        </a:defRPr>
      </a:lvl1pPr>
      <a:lvl2pPr marL="0" marR="0" indent="0" algn="l" defTabSz="914093" rtl="0" eaLnBrk="1" fontAlgn="auto" latinLnBrk="0" hangingPunct="1">
        <a:lnSpc>
          <a:spcPct val="100000"/>
        </a:lnSpc>
        <a:spcBef>
          <a:spcPts val="0"/>
        </a:spcBef>
        <a:spcAft>
          <a:spcPts val="0"/>
        </a:spcAft>
        <a:buClrTx/>
        <a:buSzPct val="90000"/>
        <a:buFontTx/>
        <a:buNone/>
        <a:tabLst/>
        <a:defRPr sz="1960" kern="1200" spc="0" baseline="0">
          <a:solidFill>
            <a:srgbClr val="000000"/>
          </a:solidFill>
          <a:latin typeface="+mn-lt"/>
          <a:ea typeface="+mn-ea"/>
          <a:cs typeface="+mn-cs"/>
        </a:defRPr>
      </a:lvl2pPr>
      <a:lvl3pPr marL="0" marR="0" indent="0" algn="l" defTabSz="914093"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093"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093"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230" indent="0" algn="l" defTabSz="914093" rtl="0" eaLnBrk="1" latinLnBrk="0" hangingPunct="1">
        <a:spcBef>
          <a:spcPct val="20000"/>
        </a:spcBef>
        <a:buFont typeface="Arial" pitchFamily="34" charset="0"/>
        <a:buNone/>
        <a:defRPr sz="1960" kern="1200">
          <a:solidFill>
            <a:schemeClr val="tx1"/>
          </a:solidFill>
          <a:latin typeface="+mn-lt"/>
          <a:ea typeface="+mn-ea"/>
          <a:cs typeface="+mn-cs"/>
        </a:defRPr>
      </a:lvl6pPr>
      <a:lvl7pPr marL="0" indent="0" algn="l" defTabSz="914093"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80" y="3012392"/>
            <a:ext cx="6858623" cy="833218"/>
          </a:xfrm>
          <a:prstGeom prst="rect">
            <a:avLst/>
          </a:prstGeom>
        </p:spPr>
      </p:pic>
    </p:spTree>
    <p:extLst>
      <p:ext uri="{BB962C8B-B14F-4D97-AF65-F5344CB8AC3E}">
        <p14:creationId xmlns:p14="http://schemas.microsoft.com/office/powerpoint/2010/main" val="1805966571"/>
      </p:ext>
    </p:extLst>
  </p:cSld>
  <p:clrMap bg1="lt1" tx1="dk1" bg2="lt2" tx2="dk2" accent1="accent1" accent2="accent2" accent3="accent3" accent4="accent4" accent5="accent5" accent6="accent6" hlink="hlink" folHlink="folHlink"/>
  <p:sldLayoutIdLst>
    <p:sldLayoutId id="2147486048" r:id="rId1"/>
    <p:sldLayoutId id="2147486049" r:id="rId2"/>
    <p:sldLayoutId id="2147486050" r:id="rId3"/>
    <p:sldLayoutId id="2147486051" r:id="rId4"/>
    <p:sldLayoutId id="2147486052" r:id="rId5"/>
    <p:sldLayoutId id="2147486053" r:id="rId6"/>
    <p:sldLayoutId id="2147486054" r:id="rId7"/>
    <p:sldLayoutId id="2147486055" r:id="rId8"/>
    <p:sldLayoutId id="2147486056" r:id="rId9"/>
    <p:sldLayoutId id="2147486057" r:id="rId10"/>
    <p:sldLayoutId id="2147486058" r:id="rId11"/>
    <p:sldLayoutId id="2147486059" r:id="rId12"/>
    <p:sldLayoutId id="2147486060" r:id="rId13"/>
    <p:sldLayoutId id="2147486061" r:id="rId14"/>
    <p:sldLayoutId id="2147486063" r:id="rId15"/>
    <p:sldLayoutId id="2147486064" r:id="rId16"/>
    <p:sldLayoutId id="2147486065" r:id="rId17"/>
    <p:sldLayoutId id="2147486066" r:id="rId18"/>
    <p:sldLayoutId id="2147486067" r:id="rId19"/>
    <p:sldLayoutId id="2147486068" r:id="rId20"/>
  </p:sldLayoutIdLst>
  <p:transition>
    <p:fade/>
  </p:transition>
  <p:hf hdr="0" ftr="0" dt="0"/>
  <p:txStyles>
    <p:titleStyle>
      <a:lvl1pPr algn="l" defTabSz="914093"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Segoe UI" panose="020B0502040204020203" pitchFamily="34" charset="0"/>
          <a:ea typeface="+mn-ea"/>
          <a:cs typeface="Segoe UI" pitchFamily="34" charset="0"/>
        </a:defRPr>
      </a:lvl1pPr>
    </p:titleStyle>
    <p:bodyStyle>
      <a:lvl1pPr marL="224030"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Segoe UI" panose="020B0502040204020203" pitchFamily="34" charset="0"/>
          <a:ea typeface="+mn-ea"/>
          <a:cs typeface="+mn-cs"/>
        </a:defRPr>
      </a:lvl1pPr>
      <a:lvl2pPr marL="448059"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4" kern="1200" spc="0" baseline="0">
          <a:gradFill>
            <a:gsLst>
              <a:gs pos="1250">
                <a:schemeClr val="tx1"/>
              </a:gs>
              <a:gs pos="100000">
                <a:schemeClr val="tx1"/>
              </a:gs>
            </a:gsLst>
            <a:lin ang="5400000" scaled="0"/>
          </a:gradFill>
          <a:latin typeface="Segoe UI" panose="020B0502040204020203" pitchFamily="34" charset="0"/>
          <a:ea typeface="+mn-ea"/>
          <a:cs typeface="+mn-cs"/>
        </a:defRPr>
      </a:lvl2pPr>
      <a:lvl3pPr marL="672088"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Segoe UI" panose="020B0502040204020203" pitchFamily="34" charset="0"/>
          <a:ea typeface="+mn-ea"/>
          <a:cs typeface="+mn-cs"/>
        </a:defRPr>
      </a:lvl3pPr>
      <a:lvl4pPr marL="896117"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6" kern="1200" spc="0" baseline="0">
          <a:gradFill>
            <a:gsLst>
              <a:gs pos="1250">
                <a:schemeClr val="tx1"/>
              </a:gs>
              <a:gs pos="100000">
                <a:schemeClr val="tx1"/>
              </a:gs>
            </a:gsLst>
            <a:lin ang="5400000" scaled="0"/>
          </a:gradFill>
          <a:latin typeface="Segoe UI" panose="020B0502040204020203" pitchFamily="34" charset="0"/>
          <a:ea typeface="+mn-ea"/>
          <a:cs typeface="+mn-cs"/>
        </a:defRPr>
      </a:lvl4pPr>
      <a:lvl5pPr marL="1120147"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6" kern="1200" spc="0" baseline="0">
          <a:gradFill>
            <a:gsLst>
              <a:gs pos="1250">
                <a:schemeClr val="tx1"/>
              </a:gs>
              <a:gs pos="100000">
                <a:schemeClr val="tx1"/>
              </a:gs>
            </a:gsLst>
            <a:lin ang="5400000" scaled="0"/>
          </a:gradFill>
          <a:latin typeface="Segoe UI" panose="020B0502040204020203" pitchFamily="34" charset="0"/>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4"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1"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4089279386"/>
      </p:ext>
    </p:extLst>
  </p:cSld>
  <p:clrMap bg1="lt1" tx1="dk1" bg2="lt2" tx2="dk2" accent1="accent1" accent2="accent2" accent3="accent3" accent4="accent4" accent5="accent5" accent6="accent6" hlink="hlink" folHlink="folHlink"/>
  <p:sldLayoutIdLst>
    <p:sldLayoutId id="2147486070" r:id="rId1"/>
    <p:sldLayoutId id="2147486071" r:id="rId2"/>
    <p:sldLayoutId id="2147486072" r:id="rId3"/>
    <p:sldLayoutId id="2147486073" r:id="rId4"/>
    <p:sldLayoutId id="2147486074" r:id="rId5"/>
    <p:sldLayoutId id="2147486075" r:id="rId6"/>
    <p:sldLayoutId id="2147486076" r:id="rId7"/>
    <p:sldLayoutId id="2147486077" r:id="rId8"/>
    <p:sldLayoutId id="2147486078" r:id="rId9"/>
    <p:sldLayoutId id="2147486079" r:id="rId10"/>
    <p:sldLayoutId id="2147486080" r:id="rId11"/>
    <p:sldLayoutId id="2147486081" r:id="rId12"/>
    <p:sldLayoutId id="2147486082" r:id="rId13"/>
    <p:sldLayoutId id="2147486083" r:id="rId14"/>
    <p:sldLayoutId id="2147486084" r:id="rId15"/>
    <p:sldLayoutId id="2147486085" r:id="rId16"/>
    <p:sldLayoutId id="2147486086" r:id="rId17"/>
    <p:sldLayoutId id="2147486087" r:id="rId18"/>
    <p:sldLayoutId id="2147486088" r:id="rId19"/>
    <p:sldLayoutId id="2147486089" r:id="rId20"/>
    <p:sldLayoutId id="2147486090" r:id="rId21"/>
    <p:sldLayoutId id="2147486091" r:id="rId22"/>
    <p:sldLayoutId id="2147486092" r:id="rId23"/>
    <p:sldLayoutId id="2147486093" r:id="rId24"/>
    <p:sldLayoutId id="2147486094" r:id="rId25"/>
    <p:sldLayoutId id="2147486095" r:id="rId26"/>
    <p:sldLayoutId id="2147486096" r:id="rId27"/>
    <p:sldLayoutId id="2147486097" r:id="rId28"/>
    <p:sldLayoutId id="2147486098" r:id="rId29"/>
    <p:sldLayoutId id="2147486099" r:id="rId30"/>
    <p:sldLayoutId id="2147486100" r:id="rId31"/>
    <p:sldLayoutId id="2147486101" r:id="rId32"/>
    <p:sldLayoutId id="2147486103" r:id="rId33"/>
    <p:sldLayoutId id="2147486104" r:id="rId34"/>
  </p:sldLayoutIdLst>
  <p:transition>
    <p:fade/>
  </p:transition>
  <p:hf sldNum="0" hdr="0" ftr="0" dt="0"/>
  <p:txStyles>
    <p:title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p:titleStyle>
    <p:bodyStyle>
      <a:lvl1pPr marL="228531"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9"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063"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gradFill>
            <a:gsLst>
              <a:gs pos="1250">
                <a:schemeClr val="tx1"/>
              </a:gs>
              <a:gs pos="100000">
                <a:schemeClr val="tx1"/>
              </a:gs>
            </a:gsLst>
            <a:lin ang="5400000" scaled="0"/>
          </a:gradFill>
          <a:latin typeface="+mn-lt"/>
          <a:ea typeface="+mn-ea"/>
          <a:cs typeface="+mn-cs"/>
        </a:defRPr>
      </a:lvl2pPr>
      <a:lvl3pPr marL="657028" marR="0" indent="-19996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710" marR="0" indent="-18092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631" marR="0" indent="-16822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270"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503"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734"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966"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462" rtl="0" eaLnBrk="1" latinLnBrk="0" hangingPunct="1">
        <a:defRPr sz="1799" kern="1200">
          <a:solidFill>
            <a:schemeClr val="tx1"/>
          </a:solidFill>
          <a:latin typeface="+mn-lt"/>
          <a:ea typeface="+mn-ea"/>
          <a:cs typeface="+mn-cs"/>
        </a:defRPr>
      </a:lvl1pPr>
      <a:lvl2pPr marL="466231" algn="l" defTabSz="932462" rtl="0" eaLnBrk="1" latinLnBrk="0" hangingPunct="1">
        <a:defRPr sz="1799" kern="1200">
          <a:solidFill>
            <a:schemeClr val="tx1"/>
          </a:solidFill>
          <a:latin typeface="+mn-lt"/>
          <a:ea typeface="+mn-ea"/>
          <a:cs typeface="+mn-cs"/>
        </a:defRPr>
      </a:lvl2pPr>
      <a:lvl3pPr marL="932462" algn="l" defTabSz="932462" rtl="0" eaLnBrk="1" latinLnBrk="0" hangingPunct="1">
        <a:defRPr sz="1799" kern="1200">
          <a:solidFill>
            <a:schemeClr val="tx1"/>
          </a:solidFill>
          <a:latin typeface="+mn-lt"/>
          <a:ea typeface="+mn-ea"/>
          <a:cs typeface="+mn-cs"/>
        </a:defRPr>
      </a:lvl3pPr>
      <a:lvl4pPr marL="1398693" algn="l" defTabSz="932462" rtl="0" eaLnBrk="1" latinLnBrk="0" hangingPunct="1">
        <a:defRPr sz="1799" kern="1200">
          <a:solidFill>
            <a:schemeClr val="tx1"/>
          </a:solidFill>
          <a:latin typeface="+mn-lt"/>
          <a:ea typeface="+mn-ea"/>
          <a:cs typeface="+mn-cs"/>
        </a:defRPr>
      </a:lvl4pPr>
      <a:lvl5pPr marL="1864924" algn="l" defTabSz="932462" rtl="0" eaLnBrk="1" latinLnBrk="0" hangingPunct="1">
        <a:defRPr sz="1799" kern="1200">
          <a:solidFill>
            <a:schemeClr val="tx1"/>
          </a:solidFill>
          <a:latin typeface="+mn-lt"/>
          <a:ea typeface="+mn-ea"/>
          <a:cs typeface="+mn-cs"/>
        </a:defRPr>
      </a:lvl5pPr>
      <a:lvl6pPr marL="2331156" algn="l" defTabSz="932462" rtl="0" eaLnBrk="1" latinLnBrk="0" hangingPunct="1">
        <a:defRPr sz="1799" kern="1200">
          <a:solidFill>
            <a:schemeClr val="tx1"/>
          </a:solidFill>
          <a:latin typeface="+mn-lt"/>
          <a:ea typeface="+mn-ea"/>
          <a:cs typeface="+mn-cs"/>
        </a:defRPr>
      </a:lvl6pPr>
      <a:lvl7pPr marL="2797387" algn="l" defTabSz="932462" rtl="0" eaLnBrk="1" latinLnBrk="0" hangingPunct="1">
        <a:defRPr sz="1799" kern="1200">
          <a:solidFill>
            <a:schemeClr val="tx1"/>
          </a:solidFill>
          <a:latin typeface="+mn-lt"/>
          <a:ea typeface="+mn-ea"/>
          <a:cs typeface="+mn-cs"/>
        </a:defRPr>
      </a:lvl7pPr>
      <a:lvl8pPr marL="3263618" algn="l" defTabSz="932462" rtl="0" eaLnBrk="1" latinLnBrk="0" hangingPunct="1">
        <a:defRPr sz="1799" kern="1200">
          <a:solidFill>
            <a:schemeClr val="tx1"/>
          </a:solidFill>
          <a:latin typeface="+mn-lt"/>
          <a:ea typeface="+mn-ea"/>
          <a:cs typeface="+mn-cs"/>
        </a:defRPr>
      </a:lvl8pPr>
      <a:lvl9pPr marL="3729850" algn="l" defTabSz="93246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80" y="3012392"/>
            <a:ext cx="6858623" cy="833218"/>
          </a:xfrm>
          <a:prstGeom prst="rect">
            <a:avLst/>
          </a:prstGeom>
        </p:spPr>
      </p:pic>
    </p:spTree>
    <p:extLst>
      <p:ext uri="{BB962C8B-B14F-4D97-AF65-F5344CB8AC3E}">
        <p14:creationId xmlns:p14="http://schemas.microsoft.com/office/powerpoint/2010/main" val="42048041"/>
      </p:ext>
    </p:extLst>
  </p:cSld>
  <p:clrMap bg1="lt1" tx1="dk1" bg2="lt2" tx2="dk2" accent1="accent1" accent2="accent2" accent3="accent3" accent4="accent4" accent5="accent5" accent6="accent6" hlink="hlink" folHlink="folHlink"/>
  <p:sldLayoutIdLst>
    <p:sldLayoutId id="2147486106" r:id="rId1"/>
    <p:sldLayoutId id="2147486107" r:id="rId2"/>
    <p:sldLayoutId id="2147486108" r:id="rId3"/>
    <p:sldLayoutId id="2147486109" r:id="rId4"/>
    <p:sldLayoutId id="2147486110" r:id="rId5"/>
    <p:sldLayoutId id="2147486111" r:id="rId6"/>
    <p:sldLayoutId id="2147486112" r:id="rId7"/>
    <p:sldLayoutId id="2147486113" r:id="rId8"/>
    <p:sldLayoutId id="2147486114" r:id="rId9"/>
    <p:sldLayoutId id="2147486115" r:id="rId10"/>
    <p:sldLayoutId id="2147486116" r:id="rId11"/>
    <p:sldLayoutId id="2147486117" r:id="rId12"/>
    <p:sldLayoutId id="2147486118" r:id="rId13"/>
    <p:sldLayoutId id="2147486119" r:id="rId14"/>
    <p:sldLayoutId id="2147486121" r:id="rId15"/>
    <p:sldLayoutId id="2147486122" r:id="rId16"/>
    <p:sldLayoutId id="2147486123" r:id="rId17"/>
    <p:sldLayoutId id="2147486124" r:id="rId18"/>
    <p:sldLayoutId id="2147486125" r:id="rId19"/>
    <p:sldLayoutId id="2147486126" r:id="rId20"/>
  </p:sldLayoutIdLst>
  <p:transition>
    <p:fade/>
  </p:transition>
  <p:hf hdr="0" ftr="0" dt="0"/>
  <p:txStyles>
    <p:titleStyle>
      <a:lvl1pPr algn="l" defTabSz="914093"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Segoe UI" panose="020B0502040204020203" pitchFamily="34" charset="0"/>
          <a:ea typeface="+mn-ea"/>
          <a:cs typeface="Segoe UI" pitchFamily="34" charset="0"/>
        </a:defRPr>
      </a:lvl1pPr>
    </p:titleStyle>
    <p:bodyStyle>
      <a:lvl1pPr marL="224030"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Segoe UI" panose="020B0502040204020203" pitchFamily="34" charset="0"/>
          <a:ea typeface="+mn-ea"/>
          <a:cs typeface="+mn-cs"/>
        </a:defRPr>
      </a:lvl1pPr>
      <a:lvl2pPr marL="448059"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4" kern="1200" spc="0" baseline="0">
          <a:gradFill>
            <a:gsLst>
              <a:gs pos="1250">
                <a:schemeClr val="tx1"/>
              </a:gs>
              <a:gs pos="100000">
                <a:schemeClr val="tx1"/>
              </a:gs>
            </a:gsLst>
            <a:lin ang="5400000" scaled="0"/>
          </a:gradFill>
          <a:latin typeface="Segoe UI" panose="020B0502040204020203" pitchFamily="34" charset="0"/>
          <a:ea typeface="+mn-ea"/>
          <a:cs typeface="+mn-cs"/>
        </a:defRPr>
      </a:lvl2pPr>
      <a:lvl3pPr marL="672088"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Segoe UI" panose="020B0502040204020203" pitchFamily="34" charset="0"/>
          <a:ea typeface="+mn-ea"/>
          <a:cs typeface="+mn-cs"/>
        </a:defRPr>
      </a:lvl3pPr>
      <a:lvl4pPr marL="896117"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6" kern="1200" spc="0" baseline="0">
          <a:gradFill>
            <a:gsLst>
              <a:gs pos="1250">
                <a:schemeClr val="tx1"/>
              </a:gs>
              <a:gs pos="100000">
                <a:schemeClr val="tx1"/>
              </a:gs>
            </a:gsLst>
            <a:lin ang="5400000" scaled="0"/>
          </a:gradFill>
          <a:latin typeface="Segoe UI" panose="020B0502040204020203" pitchFamily="34" charset="0"/>
          <a:ea typeface="+mn-ea"/>
          <a:cs typeface="+mn-cs"/>
        </a:defRPr>
      </a:lvl4pPr>
      <a:lvl5pPr marL="1120147"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6" kern="1200" spc="0" baseline="0">
          <a:gradFill>
            <a:gsLst>
              <a:gs pos="1250">
                <a:schemeClr val="tx1"/>
              </a:gs>
              <a:gs pos="100000">
                <a:schemeClr val="tx1"/>
              </a:gs>
            </a:gsLst>
            <a:lin ang="5400000" scaled="0"/>
          </a:gradFill>
          <a:latin typeface="Segoe UI" panose="020B0502040204020203" pitchFamily="34" charset="0"/>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4"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1"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472932082"/>
      </p:ext>
    </p:extLst>
  </p:cSld>
  <p:clrMap bg1="lt1" tx1="dk1" bg2="lt2" tx2="dk2" accent1="accent1" accent2="accent2" accent3="accent3" accent4="accent4" accent5="accent5" accent6="accent6" hlink="hlink" folHlink="folHlink"/>
  <p:sldLayoutIdLst>
    <p:sldLayoutId id="2147486128" r:id="rId1"/>
    <p:sldLayoutId id="2147486129" r:id="rId2"/>
    <p:sldLayoutId id="2147486130" r:id="rId3"/>
    <p:sldLayoutId id="2147486131" r:id="rId4"/>
    <p:sldLayoutId id="2147486132" r:id="rId5"/>
    <p:sldLayoutId id="2147486133" r:id="rId6"/>
    <p:sldLayoutId id="2147486134" r:id="rId7"/>
    <p:sldLayoutId id="2147486135" r:id="rId8"/>
    <p:sldLayoutId id="2147486136" r:id="rId9"/>
    <p:sldLayoutId id="2147486137" r:id="rId10"/>
    <p:sldLayoutId id="2147486138" r:id="rId11"/>
    <p:sldLayoutId id="2147486139" r:id="rId12"/>
    <p:sldLayoutId id="2147486140" r:id="rId13"/>
    <p:sldLayoutId id="2147486141" r:id="rId14"/>
    <p:sldLayoutId id="2147486142" r:id="rId15"/>
    <p:sldLayoutId id="2147486143" r:id="rId16"/>
    <p:sldLayoutId id="2147486144" r:id="rId17"/>
    <p:sldLayoutId id="2147486145" r:id="rId18"/>
    <p:sldLayoutId id="2147486146" r:id="rId19"/>
    <p:sldLayoutId id="2147486147" r:id="rId20"/>
    <p:sldLayoutId id="2147486148" r:id="rId21"/>
    <p:sldLayoutId id="2147486149" r:id="rId22"/>
    <p:sldLayoutId id="2147486150" r:id="rId23"/>
    <p:sldLayoutId id="2147486151" r:id="rId24"/>
    <p:sldLayoutId id="2147486152" r:id="rId25"/>
    <p:sldLayoutId id="2147486153" r:id="rId26"/>
    <p:sldLayoutId id="2147486154" r:id="rId27"/>
    <p:sldLayoutId id="2147486155" r:id="rId28"/>
    <p:sldLayoutId id="2147486156" r:id="rId29"/>
    <p:sldLayoutId id="2147486157" r:id="rId30"/>
    <p:sldLayoutId id="2147486158" r:id="rId31"/>
    <p:sldLayoutId id="2147486159" r:id="rId32"/>
    <p:sldLayoutId id="2147486160" r:id="rId33"/>
    <p:sldLayoutId id="2147486161" r:id="rId34"/>
    <p:sldLayoutId id="2147486162" r:id="rId35"/>
  </p:sldLayoutIdLst>
  <p:transition>
    <p:fade/>
  </p:transition>
  <p:hf sldNum="0" hdr="0" ftr="0" dt="0"/>
  <p:txStyles>
    <p:title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p:titleStyle>
    <p:bodyStyle>
      <a:lvl1pPr marL="228531"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9"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063"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gradFill>
            <a:gsLst>
              <a:gs pos="1250">
                <a:schemeClr val="tx1"/>
              </a:gs>
              <a:gs pos="100000">
                <a:schemeClr val="tx1"/>
              </a:gs>
            </a:gsLst>
            <a:lin ang="5400000" scaled="0"/>
          </a:gradFill>
          <a:latin typeface="+mn-lt"/>
          <a:ea typeface="+mn-ea"/>
          <a:cs typeface="+mn-cs"/>
        </a:defRPr>
      </a:lvl2pPr>
      <a:lvl3pPr marL="657028" marR="0" indent="-19996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710" marR="0" indent="-18092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631" marR="0" indent="-16822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270"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503"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734"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966"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462" rtl="0" eaLnBrk="1" latinLnBrk="0" hangingPunct="1">
        <a:defRPr sz="1799" kern="1200">
          <a:solidFill>
            <a:schemeClr val="tx1"/>
          </a:solidFill>
          <a:latin typeface="+mn-lt"/>
          <a:ea typeface="+mn-ea"/>
          <a:cs typeface="+mn-cs"/>
        </a:defRPr>
      </a:lvl1pPr>
      <a:lvl2pPr marL="466231" algn="l" defTabSz="932462" rtl="0" eaLnBrk="1" latinLnBrk="0" hangingPunct="1">
        <a:defRPr sz="1799" kern="1200">
          <a:solidFill>
            <a:schemeClr val="tx1"/>
          </a:solidFill>
          <a:latin typeface="+mn-lt"/>
          <a:ea typeface="+mn-ea"/>
          <a:cs typeface="+mn-cs"/>
        </a:defRPr>
      </a:lvl2pPr>
      <a:lvl3pPr marL="932462" algn="l" defTabSz="932462" rtl="0" eaLnBrk="1" latinLnBrk="0" hangingPunct="1">
        <a:defRPr sz="1799" kern="1200">
          <a:solidFill>
            <a:schemeClr val="tx1"/>
          </a:solidFill>
          <a:latin typeface="+mn-lt"/>
          <a:ea typeface="+mn-ea"/>
          <a:cs typeface="+mn-cs"/>
        </a:defRPr>
      </a:lvl3pPr>
      <a:lvl4pPr marL="1398693" algn="l" defTabSz="932462" rtl="0" eaLnBrk="1" latinLnBrk="0" hangingPunct="1">
        <a:defRPr sz="1799" kern="1200">
          <a:solidFill>
            <a:schemeClr val="tx1"/>
          </a:solidFill>
          <a:latin typeface="+mn-lt"/>
          <a:ea typeface="+mn-ea"/>
          <a:cs typeface="+mn-cs"/>
        </a:defRPr>
      </a:lvl4pPr>
      <a:lvl5pPr marL="1864924" algn="l" defTabSz="932462" rtl="0" eaLnBrk="1" latinLnBrk="0" hangingPunct="1">
        <a:defRPr sz="1799" kern="1200">
          <a:solidFill>
            <a:schemeClr val="tx1"/>
          </a:solidFill>
          <a:latin typeface="+mn-lt"/>
          <a:ea typeface="+mn-ea"/>
          <a:cs typeface="+mn-cs"/>
        </a:defRPr>
      </a:lvl5pPr>
      <a:lvl6pPr marL="2331156" algn="l" defTabSz="932462" rtl="0" eaLnBrk="1" latinLnBrk="0" hangingPunct="1">
        <a:defRPr sz="1799" kern="1200">
          <a:solidFill>
            <a:schemeClr val="tx1"/>
          </a:solidFill>
          <a:latin typeface="+mn-lt"/>
          <a:ea typeface="+mn-ea"/>
          <a:cs typeface="+mn-cs"/>
        </a:defRPr>
      </a:lvl6pPr>
      <a:lvl7pPr marL="2797387" algn="l" defTabSz="932462" rtl="0" eaLnBrk="1" latinLnBrk="0" hangingPunct="1">
        <a:defRPr sz="1799" kern="1200">
          <a:solidFill>
            <a:schemeClr val="tx1"/>
          </a:solidFill>
          <a:latin typeface="+mn-lt"/>
          <a:ea typeface="+mn-ea"/>
          <a:cs typeface="+mn-cs"/>
        </a:defRPr>
      </a:lvl7pPr>
      <a:lvl8pPr marL="3263618" algn="l" defTabSz="932462" rtl="0" eaLnBrk="1" latinLnBrk="0" hangingPunct="1">
        <a:defRPr sz="1799" kern="1200">
          <a:solidFill>
            <a:schemeClr val="tx1"/>
          </a:solidFill>
          <a:latin typeface="+mn-lt"/>
          <a:ea typeface="+mn-ea"/>
          <a:cs typeface="+mn-cs"/>
        </a:defRPr>
      </a:lvl8pPr>
      <a:lvl9pPr marL="3729850" algn="l" defTabSz="93246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231768" cy="1780438"/>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B3 Segoe UI Regular 10/12</a:t>
            </a:r>
          </a:p>
        </p:txBody>
      </p:sp>
      <p:pic>
        <p:nvPicPr>
          <p:cNvPr id="7" name="Picture 6"/>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pic>
        <p:nvPicPr>
          <p:cNvPr id="6" name="Picture 5">
            <a:extLst>
              <a:ext uri="{FF2B5EF4-FFF2-40B4-BE49-F238E27FC236}">
                <a16:creationId xmlns:a16="http://schemas.microsoft.com/office/drawing/2014/main" id="{C5207DFE-8813-4D3D-9F64-52EE12EA563C}"/>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10729968" y="109022"/>
            <a:ext cx="1335673" cy="190278"/>
          </a:xfrm>
          <a:prstGeom prst="rect">
            <a:avLst/>
          </a:prstGeom>
        </p:spPr>
      </p:pic>
    </p:spTree>
    <p:extLst>
      <p:ext uri="{BB962C8B-B14F-4D97-AF65-F5344CB8AC3E}">
        <p14:creationId xmlns:p14="http://schemas.microsoft.com/office/powerpoint/2010/main" val="4109590814"/>
      </p:ext>
    </p:extLst>
  </p:cSld>
  <p:clrMap bg1="lt1" tx1="dk1" bg2="lt2" tx2="dk2" accent1="accent1" accent2="accent2" accent3="accent3" accent4="accent4" accent5="accent5" accent6="accent6" hlink="hlink" folHlink="folHlink"/>
  <p:sldLayoutIdLst>
    <p:sldLayoutId id="2147486164" r:id="rId1"/>
    <p:sldLayoutId id="2147486165" r:id="rId2"/>
    <p:sldLayoutId id="2147486166" r:id="rId3"/>
    <p:sldLayoutId id="2147486167" r:id="rId4"/>
    <p:sldLayoutId id="2147486168" r:id="rId5"/>
    <p:sldLayoutId id="2147486169" r:id="rId6"/>
    <p:sldLayoutId id="2147486170" r:id="rId7"/>
    <p:sldLayoutId id="2147486171" r:id="rId8"/>
    <p:sldLayoutId id="2147486172" r:id="rId9"/>
    <p:sldLayoutId id="2147486174" r:id="rId10"/>
    <p:sldLayoutId id="2147486175" r:id="rId11"/>
    <p:sldLayoutId id="2147486176" r:id="rId12"/>
    <p:sldLayoutId id="2147486177" r:id="rId13"/>
    <p:sldLayoutId id="2147486178" r:id="rId14"/>
    <p:sldLayoutId id="2147486179" r:id="rId15"/>
    <p:sldLayoutId id="2147486180" r:id="rId16"/>
    <p:sldLayoutId id="2147486182" r:id="rId17"/>
    <p:sldLayoutId id="2147486183" r:id="rId18"/>
    <p:sldLayoutId id="2147486184" r:id="rId19"/>
    <p:sldLayoutId id="2147486185" r:id="rId20"/>
    <p:sldLayoutId id="2147486186" r:id="rId21"/>
    <p:sldLayoutId id="2147486187" r:id="rId22"/>
    <p:sldLayoutId id="2147486188" r:id="rId23"/>
  </p:sldLayoutIdLst>
  <p:transition>
    <p:fade/>
  </p:transition>
  <p:hf sldNum="0" hdr="0" ft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2"/>
              </a:gs>
              <a:gs pos="100000">
                <a:schemeClr val="tx2"/>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6" cstate="screen">
            <a:extLst>
              <a:ext uri="{28A0092B-C50C-407E-A947-70E740481C1C}">
                <a14:useLocalDpi xmlns:a14="http://schemas.microsoft.com/office/drawing/2010/main"/>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8810929"/>
      </p:ext>
    </p:extLst>
  </p:cSld>
  <p:clrMap bg1="lt1" tx1="dk1" bg2="lt2" tx2="dk2" accent1="accent1" accent2="accent2" accent3="accent3" accent4="accent4" accent5="accent5" accent6="accent6" hlink="hlink" folHlink="folHlink"/>
  <p:sldLayoutIdLst>
    <p:sldLayoutId id="2147486190" r:id="rId1"/>
    <p:sldLayoutId id="2147486191" r:id="rId2"/>
    <p:sldLayoutId id="2147486192" r:id="rId3"/>
    <p:sldLayoutId id="2147486193" r:id="rId4"/>
    <p:sldLayoutId id="2147486194" r:id="rId5"/>
    <p:sldLayoutId id="2147486195" r:id="rId6"/>
    <p:sldLayoutId id="2147486196" r:id="rId7"/>
    <p:sldLayoutId id="2147486197" r:id="rId8"/>
    <p:sldLayoutId id="2147486198" r:id="rId9"/>
    <p:sldLayoutId id="2147486199" r:id="rId10"/>
    <p:sldLayoutId id="2147486200" r:id="rId11"/>
    <p:sldLayoutId id="2147486201" r:id="rId12"/>
    <p:sldLayoutId id="2147486202" r:id="rId13"/>
    <p:sldLayoutId id="2147486203" r:id="rId14"/>
    <p:sldLayoutId id="2147486204" r:id="rId15"/>
    <p:sldLayoutId id="2147486205" r:id="rId16"/>
    <p:sldLayoutId id="2147486206" r:id="rId17"/>
    <p:sldLayoutId id="2147486207" r:id="rId18"/>
    <p:sldLayoutId id="2147486208" r:id="rId19"/>
    <p:sldLayoutId id="2147486209" r:id="rId20"/>
    <p:sldLayoutId id="2147486210" r:id="rId21"/>
    <p:sldLayoutId id="2147486211" r:id="rId22"/>
    <p:sldLayoutId id="2147486212" r:id="rId23"/>
    <p:sldLayoutId id="2147486213" r:id="rId24"/>
    <p:sldLayoutId id="2147486214" r:id="rId25"/>
    <p:sldLayoutId id="2147486215" r:id="rId26"/>
    <p:sldLayoutId id="2147486216" r:id="rId27"/>
    <p:sldLayoutId id="2147486217" r:id="rId28"/>
    <p:sldLayoutId id="2147486218" r:id="rId29"/>
    <p:sldLayoutId id="2147486219" r:id="rId30"/>
    <p:sldLayoutId id="2147486220" r:id="rId31"/>
    <p:sldLayoutId id="2147486221" r:id="rId32"/>
    <p:sldLayoutId id="2147486222" r:id="rId33"/>
    <p:sldLayoutId id="2147486223" r:id="rId34"/>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pic>
        <p:nvPicPr>
          <p:cNvPr id="7" name="Picture 6"/>
          <p:cNvPicPr>
            <a:picLocks noChangeAspect="1"/>
          </p:cNvPicPr>
          <p:nvPr userDrawn="1"/>
        </p:nvPicPr>
        <p:blipFill>
          <a:blip r:embed="rId57" cstate="print">
            <a:extLst>
              <a:ext uri="{28A0092B-C50C-407E-A947-70E740481C1C}">
                <a14:useLocalDpi xmlns:a14="http://schemas.microsoft.com/office/drawing/2010/main" val="0"/>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32375648"/>
      </p:ext>
    </p:extLst>
  </p:cSld>
  <p:clrMap bg1="lt1" tx1="dk1" bg2="lt2" tx2="dk2" accent1="accent1" accent2="accent2" accent3="accent3" accent4="accent4" accent5="accent5" accent6="accent6" hlink="hlink" folHlink="folHlink"/>
  <p:sldLayoutIdLst>
    <p:sldLayoutId id="2147486226" r:id="rId1"/>
    <p:sldLayoutId id="2147486227" r:id="rId2"/>
    <p:sldLayoutId id="2147486228" r:id="rId3"/>
    <p:sldLayoutId id="2147486229" r:id="rId4"/>
    <p:sldLayoutId id="2147486230" r:id="rId5"/>
    <p:sldLayoutId id="2147486231" r:id="rId6"/>
    <p:sldLayoutId id="2147486232" r:id="rId7"/>
    <p:sldLayoutId id="2147486233" r:id="rId8"/>
    <p:sldLayoutId id="2147486234" r:id="rId9"/>
    <p:sldLayoutId id="2147486235" r:id="rId10"/>
    <p:sldLayoutId id="2147486236" r:id="rId11"/>
    <p:sldLayoutId id="2147486237" r:id="rId12"/>
    <p:sldLayoutId id="2147486238" r:id="rId13"/>
    <p:sldLayoutId id="2147486239" r:id="rId14"/>
    <p:sldLayoutId id="2147486240" r:id="rId15"/>
    <p:sldLayoutId id="2147486241" r:id="rId16"/>
    <p:sldLayoutId id="2147486242" r:id="rId17"/>
    <p:sldLayoutId id="2147486243" r:id="rId18"/>
    <p:sldLayoutId id="2147486244" r:id="rId19"/>
    <p:sldLayoutId id="2147486245" r:id="rId20"/>
    <p:sldLayoutId id="2147486246" r:id="rId21"/>
    <p:sldLayoutId id="2147486247" r:id="rId22"/>
    <p:sldLayoutId id="2147486248" r:id="rId23"/>
    <p:sldLayoutId id="2147486249" r:id="rId24"/>
    <p:sldLayoutId id="2147486250" r:id="rId25"/>
    <p:sldLayoutId id="2147486251" r:id="rId26"/>
    <p:sldLayoutId id="2147486252" r:id="rId27"/>
    <p:sldLayoutId id="2147486253" r:id="rId28"/>
    <p:sldLayoutId id="2147486254" r:id="rId29"/>
    <p:sldLayoutId id="2147486255" r:id="rId30"/>
    <p:sldLayoutId id="2147486256" r:id="rId31"/>
    <p:sldLayoutId id="2147486257" r:id="rId32"/>
    <p:sldLayoutId id="2147486258" r:id="rId33"/>
    <p:sldLayoutId id="2147486259" r:id="rId34"/>
    <p:sldLayoutId id="2147486260" r:id="rId35"/>
    <p:sldLayoutId id="2147486261" r:id="rId36"/>
    <p:sldLayoutId id="2147486262" r:id="rId37"/>
    <p:sldLayoutId id="2147486263" r:id="rId38"/>
    <p:sldLayoutId id="2147486264" r:id="rId39"/>
    <p:sldLayoutId id="2147486265" r:id="rId40"/>
    <p:sldLayoutId id="2147486266" r:id="rId41"/>
    <p:sldLayoutId id="2147486267" r:id="rId42"/>
    <p:sldLayoutId id="2147486268" r:id="rId43"/>
    <p:sldLayoutId id="2147486269" r:id="rId44"/>
    <p:sldLayoutId id="2147486270" r:id="rId45"/>
    <p:sldLayoutId id="2147486271" r:id="rId46"/>
    <p:sldLayoutId id="2147486272" r:id="rId47"/>
    <p:sldLayoutId id="2147486273" r:id="rId48"/>
    <p:sldLayoutId id="2147486274" r:id="rId49"/>
    <p:sldLayoutId id="2147486275" r:id="rId50"/>
    <p:sldLayoutId id="2147486276" r:id="rId51"/>
    <p:sldLayoutId id="2147486277" r:id="rId52"/>
    <p:sldLayoutId id="2147486278" r:id="rId53"/>
    <p:sldLayoutId id="2147486279" r:id="rId54"/>
    <p:sldLayoutId id="2147486280" r:id="rId55"/>
  </p:sldLayoutIdLst>
  <p:transition>
    <p:fade/>
  </p:transition>
  <p:hf sldNum="0"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63643344"/>
      </p:ext>
    </p:extLst>
  </p:cSld>
  <p:clrMap bg1="dk1" tx1="lt1" bg2="dk2" tx2="lt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 id="2147483781" r:id="rId19"/>
    <p:sldLayoutId id="2147483782" r:id="rId20"/>
    <p:sldLayoutId id="2147483783" r:id="rId21"/>
    <p:sldLayoutId id="2147483784" r:id="rId22"/>
    <p:sldLayoutId id="2147483785" r:id="rId23"/>
    <p:sldLayoutId id="2147483786" r:id="rId24"/>
    <p:sldLayoutId id="2147483787" r:id="rId25"/>
    <p:sldLayoutId id="2147483788" r:id="rId26"/>
    <p:sldLayoutId id="2147483789" r:id="rId27"/>
    <p:sldLayoutId id="2147483790" r:id="rId28"/>
    <p:sldLayoutId id="2147483791" r:id="rId29"/>
    <p:sldLayoutId id="2147483792" r:id="rId30"/>
    <p:sldLayoutId id="2147483793" r:id="rId31"/>
    <p:sldLayoutId id="2147483794"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3250683245"/>
      </p:ext>
    </p:extLst>
  </p:cSld>
  <p:clrMap bg1="lt1" tx1="dk1" bg2="lt2" tx2="dk2" accent1="accent1" accent2="accent2" accent3="accent3" accent4="accent4" accent5="accent5" accent6="accent6" hlink="hlink" folHlink="folHlink"/>
  <p:sldLayoutIdLst>
    <p:sldLayoutId id="2147486282" r:id="rId1"/>
    <p:sldLayoutId id="2147486283" r:id="rId2"/>
    <p:sldLayoutId id="2147486284" r:id="rId3"/>
    <p:sldLayoutId id="2147486285" r:id="rId4"/>
    <p:sldLayoutId id="2147486286" r:id="rId5"/>
    <p:sldLayoutId id="2147486287" r:id="rId6"/>
    <p:sldLayoutId id="2147486288" r:id="rId7"/>
    <p:sldLayoutId id="2147486289" r:id="rId8"/>
    <p:sldLayoutId id="2147486290" r:id="rId9"/>
    <p:sldLayoutId id="2147486291" r:id="rId10"/>
    <p:sldLayoutId id="2147486292" r:id="rId11"/>
    <p:sldLayoutId id="2147486293" r:id="rId12"/>
    <p:sldLayoutId id="2147486294" r:id="rId13"/>
    <p:sldLayoutId id="2147486295" r:id="rId14"/>
    <p:sldLayoutId id="2147486296" r:id="rId15"/>
    <p:sldLayoutId id="2147486297" r:id="rId16"/>
    <p:sldLayoutId id="2147486298" r:id="rId17"/>
    <p:sldLayoutId id="2147486299" r:id="rId18"/>
    <p:sldLayoutId id="2147486300" r:id="rId19"/>
    <p:sldLayoutId id="2147486301" r:id="rId20"/>
    <p:sldLayoutId id="2147486302" r:id="rId21"/>
    <p:sldLayoutId id="2147486303" r:id="rId22"/>
    <p:sldLayoutId id="2147486304" r:id="rId23"/>
    <p:sldLayoutId id="2147486305" r:id="rId24"/>
    <p:sldLayoutId id="2147486306" r:id="rId25"/>
    <p:sldLayoutId id="2147486307" r:id="rId26"/>
    <p:sldLayoutId id="2147486308" r:id="rId27"/>
    <p:sldLayoutId id="2147486309" r:id="rId28"/>
    <p:sldLayoutId id="2147486310" r:id="rId29"/>
    <p:sldLayoutId id="2147486311" r:id="rId30"/>
    <p:sldLayoutId id="2147486312" r:id="rId31"/>
    <p:sldLayoutId id="2147486313" r:id="rId32"/>
    <p:sldLayoutId id="2147486315" r:id="rId33"/>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5"/>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795391048"/>
      </p:ext>
    </p:extLst>
  </p:cSld>
  <p:clrMap bg1="dk1" tx1="lt1" bg2="dk2" tx2="lt2" accent1="accent1" accent2="accent2" accent3="accent3" accent4="accent4" accent5="accent5" accent6="accent6" hlink="hlink" folHlink="folHlink"/>
  <p:sldLayoutIdLst>
    <p:sldLayoutId id="2147485639" r:id="rId1"/>
    <p:sldLayoutId id="2147485640" r:id="rId2"/>
    <p:sldLayoutId id="2147485641" r:id="rId3"/>
    <p:sldLayoutId id="2147485642" r:id="rId4"/>
    <p:sldLayoutId id="2147485643" r:id="rId5"/>
    <p:sldLayoutId id="2147485644" r:id="rId6"/>
    <p:sldLayoutId id="2147485645" r:id="rId7"/>
    <p:sldLayoutId id="2147485646" r:id="rId8"/>
    <p:sldLayoutId id="2147485647" r:id="rId9"/>
    <p:sldLayoutId id="2147485648" r:id="rId10"/>
    <p:sldLayoutId id="2147485649" r:id="rId11"/>
    <p:sldLayoutId id="2147485650" r:id="rId12"/>
    <p:sldLayoutId id="2147485651" r:id="rId13"/>
    <p:sldLayoutId id="2147485652" r:id="rId14"/>
    <p:sldLayoutId id="2147485653" r:id="rId15"/>
    <p:sldLayoutId id="2147485654" r:id="rId16"/>
    <p:sldLayoutId id="2147485655" r:id="rId17"/>
    <p:sldLayoutId id="2147485656" r:id="rId18"/>
    <p:sldLayoutId id="2147485657" r:id="rId19"/>
    <p:sldLayoutId id="2147485658" r:id="rId20"/>
    <p:sldLayoutId id="2147485659" r:id="rId21"/>
    <p:sldLayoutId id="2147485660" r:id="rId22"/>
    <p:sldLayoutId id="2147485661" r:id="rId23"/>
    <p:sldLayoutId id="2147485662" r:id="rId24"/>
    <p:sldLayoutId id="2147485663" r:id="rId25"/>
    <p:sldLayoutId id="2147485664" r:id="rId26"/>
    <p:sldLayoutId id="2147485665" r:id="rId27"/>
    <p:sldLayoutId id="2147485666" r:id="rId28"/>
    <p:sldLayoutId id="2147485667" r:id="rId29"/>
    <p:sldLayoutId id="2147485668" r:id="rId30"/>
    <p:sldLayoutId id="2147485669" r:id="rId31"/>
    <p:sldLayoutId id="2147485670" r:id="rId32"/>
    <p:sldLayoutId id="2147485671" r:id="rId33"/>
  </p:sldLayoutIdLst>
  <p:transition advClick="0" advTm="20000">
    <p:push dir="u"/>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4"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756451558"/>
      </p:ext>
    </p:extLst>
  </p:cSld>
  <p:clrMap bg1="dk1" tx1="lt1" bg2="dk2" tx2="lt2" accent1="accent1" accent2="accent2" accent3="accent3" accent4="accent4" accent5="accent5" accent6="accent6" hlink="hlink" folHlink="folHlink"/>
  <p:sldLayoutIdLst>
    <p:sldLayoutId id="2147485673" r:id="rId1"/>
    <p:sldLayoutId id="2147485674" r:id="rId2"/>
    <p:sldLayoutId id="2147485675" r:id="rId3"/>
    <p:sldLayoutId id="2147485676" r:id="rId4"/>
    <p:sldLayoutId id="2147485677" r:id="rId5"/>
    <p:sldLayoutId id="2147485678" r:id="rId6"/>
    <p:sldLayoutId id="2147485679" r:id="rId7"/>
    <p:sldLayoutId id="2147485680" r:id="rId8"/>
    <p:sldLayoutId id="2147485681" r:id="rId9"/>
    <p:sldLayoutId id="2147485682" r:id="rId10"/>
    <p:sldLayoutId id="2147485683" r:id="rId11"/>
    <p:sldLayoutId id="2147485684" r:id="rId12"/>
    <p:sldLayoutId id="2147485685" r:id="rId13"/>
    <p:sldLayoutId id="2147485686" r:id="rId14"/>
    <p:sldLayoutId id="2147485687" r:id="rId15"/>
    <p:sldLayoutId id="2147485688" r:id="rId16"/>
    <p:sldLayoutId id="2147485689" r:id="rId17"/>
    <p:sldLayoutId id="2147485690" r:id="rId18"/>
    <p:sldLayoutId id="2147485691" r:id="rId19"/>
    <p:sldLayoutId id="2147485692" r:id="rId20"/>
    <p:sldLayoutId id="2147485693" r:id="rId21"/>
    <p:sldLayoutId id="2147485694" r:id="rId22"/>
    <p:sldLayoutId id="2147485695" r:id="rId23"/>
    <p:sldLayoutId id="2147485696" r:id="rId24"/>
    <p:sldLayoutId id="2147485697" r:id="rId25"/>
    <p:sldLayoutId id="2147485698" r:id="rId26"/>
    <p:sldLayoutId id="2147485699" r:id="rId27"/>
    <p:sldLayoutId id="2147485700" r:id="rId28"/>
    <p:sldLayoutId id="2147485701" r:id="rId29"/>
    <p:sldLayoutId id="2147485702" r:id="rId30"/>
    <p:sldLayoutId id="2147485703" r:id="rId31"/>
    <p:sldLayoutId id="2147485704" r:id="rId32"/>
    <p:sldLayoutId id="2147485705" r:id="rId33"/>
    <p:sldLayoutId id="2147485706" r:id="rId34"/>
    <p:sldLayoutId id="2147485707" r:id="rId35"/>
    <p:sldLayoutId id="2147485708" r:id="rId36"/>
    <p:sldLayoutId id="2147485709" r:id="rId37"/>
    <p:sldLayoutId id="2147485710" r:id="rId38"/>
    <p:sldLayoutId id="2147485711" r:id="rId39"/>
    <p:sldLayoutId id="2147485712" r:id="rId40"/>
    <p:sldLayoutId id="2147485713" r:id="rId41"/>
    <p:sldLayoutId id="2147485714"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231768" cy="1780438"/>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B3 Segoe UI Regular 10/12</a:t>
            </a:r>
          </a:p>
        </p:txBody>
      </p:sp>
      <p:pic>
        <p:nvPicPr>
          <p:cNvPr id="7" name="Picture 6"/>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272327239"/>
      </p:ext>
    </p:extLst>
  </p:cSld>
  <p:clrMap bg1="lt1" tx1="dk1" bg2="lt2" tx2="dk2" accent1="accent1" accent2="accent2" accent3="accent3" accent4="accent4" accent5="accent5" accent6="accent6" hlink="hlink" folHlink="folHlink"/>
  <p:sldLayoutIdLst>
    <p:sldLayoutId id="2147485733" r:id="rId1"/>
    <p:sldLayoutId id="2147485734" r:id="rId2"/>
    <p:sldLayoutId id="2147485735" r:id="rId3"/>
    <p:sldLayoutId id="2147485736" r:id="rId4"/>
    <p:sldLayoutId id="2147485737" r:id="rId5"/>
    <p:sldLayoutId id="2147485738" r:id="rId6"/>
    <p:sldLayoutId id="2147485739" r:id="rId7"/>
    <p:sldLayoutId id="2147485740" r:id="rId8"/>
    <p:sldLayoutId id="2147485741" r:id="rId9"/>
    <p:sldLayoutId id="2147485742" r:id="rId10"/>
    <p:sldLayoutId id="2147485743" r:id="rId11"/>
    <p:sldLayoutId id="2147485744" r:id="rId12"/>
    <p:sldLayoutId id="2147485745" r:id="rId13"/>
    <p:sldLayoutId id="2147485746" r:id="rId14"/>
    <p:sldLayoutId id="2147485747" r:id="rId15"/>
    <p:sldLayoutId id="2147485748" r:id="rId16"/>
    <p:sldLayoutId id="2147485749" r:id="rId17"/>
    <p:sldLayoutId id="2147485750" r:id="rId18"/>
    <p:sldLayoutId id="2147485751" r:id="rId19"/>
    <p:sldLayoutId id="2147485752" r:id="rId20"/>
    <p:sldLayoutId id="2147485753" r:id="rId21"/>
    <p:sldLayoutId id="2147485754" r:id="rId22"/>
    <p:sldLayoutId id="2147485755" r:id="rId23"/>
    <p:sldLayoutId id="2147485756" r:id="rId24"/>
    <p:sldLayoutId id="2147485757" r:id="rId25"/>
    <p:sldLayoutId id="2147485758" r:id="rId26"/>
    <p:sldLayoutId id="2147485759" r:id="rId27"/>
    <p:sldLayoutId id="2147485760" r:id="rId28"/>
    <p:sldLayoutId id="2147485761" r:id="rId29"/>
    <p:sldLayoutId id="2147485762" r:id="rId30"/>
    <p:sldLayoutId id="2147485763" r:id="rId31"/>
    <p:sldLayoutId id="2147485764" r:id="rId32"/>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2"/>
              </a:gs>
              <a:gs pos="100000">
                <a:schemeClr val="tx2"/>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055909823"/>
      </p:ext>
    </p:extLst>
  </p:cSld>
  <p:clrMap bg1="lt1" tx1="dk1" bg2="lt2" tx2="dk2" accent1="accent1" accent2="accent2" accent3="accent3" accent4="accent4" accent5="accent5" accent6="accent6" hlink="hlink" folHlink="folHlink"/>
  <p:sldLayoutIdLst>
    <p:sldLayoutId id="2147485766" r:id="rId1"/>
    <p:sldLayoutId id="2147485767" r:id="rId2"/>
    <p:sldLayoutId id="2147485768" r:id="rId3"/>
    <p:sldLayoutId id="2147485769" r:id="rId4"/>
    <p:sldLayoutId id="2147485770" r:id="rId5"/>
    <p:sldLayoutId id="2147485771" r:id="rId6"/>
    <p:sldLayoutId id="2147485772" r:id="rId7"/>
    <p:sldLayoutId id="2147485773" r:id="rId8"/>
    <p:sldLayoutId id="2147485774" r:id="rId9"/>
    <p:sldLayoutId id="2147485775" r:id="rId10"/>
    <p:sldLayoutId id="2147485776" r:id="rId11"/>
    <p:sldLayoutId id="2147485777" r:id="rId12"/>
    <p:sldLayoutId id="2147485778" r:id="rId13"/>
    <p:sldLayoutId id="2147485779" r:id="rId14"/>
    <p:sldLayoutId id="2147485780" r:id="rId15"/>
    <p:sldLayoutId id="2147485781" r:id="rId16"/>
    <p:sldLayoutId id="2147485782" r:id="rId17"/>
    <p:sldLayoutId id="2147485783" r:id="rId18"/>
    <p:sldLayoutId id="2147485784" r:id="rId19"/>
    <p:sldLayoutId id="2147485785" r:id="rId20"/>
    <p:sldLayoutId id="2147485786" r:id="rId21"/>
    <p:sldLayoutId id="2147485787" r:id="rId22"/>
    <p:sldLayoutId id="2147485788" r:id="rId23"/>
    <p:sldLayoutId id="2147485789" r:id="rId24"/>
    <p:sldLayoutId id="2147485790" r:id="rId25"/>
    <p:sldLayoutId id="2147485791" r:id="rId26"/>
    <p:sldLayoutId id="2147485792" r:id="rId27"/>
    <p:sldLayoutId id="2147485793" r:id="rId28"/>
    <p:sldLayoutId id="2147485794" r:id="rId29"/>
    <p:sldLayoutId id="2147485795" r:id="rId30"/>
    <p:sldLayoutId id="2147485796" r:id="rId31"/>
    <p:sldLayoutId id="2147485797" r:id="rId32"/>
    <p:sldLayoutId id="2147485798" r:id="rId33"/>
    <p:sldLayoutId id="2147485799" r:id="rId34"/>
    <p:sldLayoutId id="2147485800" r:id="rId35"/>
    <p:sldLayoutId id="2147485801" r:id="rId36"/>
    <p:sldLayoutId id="2147485802" r:id="rId37"/>
    <p:sldLayoutId id="2147485803" r:id="rId38"/>
    <p:sldLayoutId id="2147485804" r:id="rId39"/>
    <p:sldLayoutId id="2147485805" r:id="rId40"/>
    <p:sldLayoutId id="2147485806" r:id="rId41"/>
    <p:sldLayoutId id="2147485807"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48" name="Footer Placeholder 1">
            <a:extLst>
              <a:ext uri="{FF2B5EF4-FFF2-40B4-BE49-F238E27FC236}">
                <a16:creationId xmlns:a16="http://schemas.microsoft.com/office/drawing/2014/main" id="{F226ED0A-DDC2-4333-94E7-5488D76EDB31}"/>
              </a:ext>
            </a:extLst>
          </p:cNvPr>
          <p:cNvSpPr txBox="1">
            <a:spLocks/>
          </p:cNvSpPr>
          <p:nvPr userDrawn="1"/>
        </p:nvSpPr>
        <p:spPr>
          <a:xfrm>
            <a:off x="3453609" y="6626978"/>
            <a:ext cx="5279136"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a:solidFill>
                  <a:schemeClr val="tx1">
                    <a:alpha val="60000"/>
                  </a:schemeClr>
                </a:solidFill>
              </a:rPr>
              <a:t>MICROSOFT CONFIDENTIAL – NON-DISCLOSURE AGREEMENT REQUIRED</a:t>
            </a:r>
          </a:p>
        </p:txBody>
      </p:sp>
    </p:spTree>
    <p:extLst>
      <p:ext uri="{BB962C8B-B14F-4D97-AF65-F5344CB8AC3E}">
        <p14:creationId xmlns:p14="http://schemas.microsoft.com/office/powerpoint/2010/main" val="253988016"/>
      </p:ext>
    </p:extLst>
  </p:cSld>
  <p:clrMap bg1="dk1" tx1="lt1" bg2="dk2" tx2="lt2" accent1="accent1" accent2="accent2" accent3="accent3" accent4="accent4" accent5="accent5" accent6="accent6" hlink="hlink" folHlink="folHlink"/>
  <p:sldLayoutIdLst>
    <p:sldLayoutId id="2147485810" r:id="rId1"/>
    <p:sldLayoutId id="2147485811" r:id="rId2"/>
    <p:sldLayoutId id="2147485812" r:id="rId3"/>
    <p:sldLayoutId id="2147485813" r:id="rId4"/>
    <p:sldLayoutId id="2147485814" r:id="rId5"/>
    <p:sldLayoutId id="2147485815" r:id="rId6"/>
    <p:sldLayoutId id="2147485816" r:id="rId7"/>
    <p:sldLayoutId id="2147485817" r:id="rId8"/>
    <p:sldLayoutId id="2147485818" r:id="rId9"/>
    <p:sldLayoutId id="2147485819" r:id="rId10"/>
    <p:sldLayoutId id="2147485820" r:id="rId11"/>
    <p:sldLayoutId id="2147485821" r:id="rId12"/>
    <p:sldLayoutId id="2147485822" r:id="rId13"/>
    <p:sldLayoutId id="2147485823" r:id="rId14"/>
    <p:sldLayoutId id="2147485824" r:id="rId15"/>
    <p:sldLayoutId id="2147485825" r:id="rId16"/>
    <p:sldLayoutId id="2147485826" r:id="rId17"/>
    <p:sldLayoutId id="2147485827" r:id="rId18"/>
    <p:sldLayoutId id="2147485828" r:id="rId19"/>
    <p:sldLayoutId id="2147485829" r:id="rId20"/>
    <p:sldLayoutId id="2147485830" r:id="rId21"/>
    <p:sldLayoutId id="2147485831" r:id="rId22"/>
    <p:sldLayoutId id="2147485832" r:id="rId23"/>
    <p:sldLayoutId id="2147485833" r:id="rId24"/>
    <p:sldLayoutId id="2147485834" r:id="rId25"/>
    <p:sldLayoutId id="2147485835" r:id="rId26"/>
    <p:sldLayoutId id="2147485836" r:id="rId27"/>
    <p:sldLayoutId id="2147485837" r:id="rId28"/>
    <p:sldLayoutId id="2147485838" r:id="rId29"/>
    <p:sldLayoutId id="2147485839" r:id="rId30"/>
    <p:sldLayoutId id="2147485840" r:id="rId31"/>
    <p:sldLayoutId id="2147485841" r:id="rId32"/>
    <p:sldLayoutId id="2147485842" r:id="rId33"/>
    <p:sldLayoutId id="2147485843" r:id="rId34"/>
    <p:sldLayoutId id="2147485844" r:id="rId35"/>
    <p:sldLayoutId id="2147485845" r:id="rId36"/>
    <p:sldLayoutId id="2147485846" r:id="rId37"/>
    <p:sldLayoutId id="214748584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231768" cy="1780438"/>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B3 Segoe UI Regular 10/12</a:t>
            </a:r>
          </a:p>
        </p:txBody>
      </p:sp>
      <p:pic>
        <p:nvPicPr>
          <p:cNvPr id="7" name="Picture 6"/>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3878373591"/>
      </p:ext>
    </p:extLst>
  </p:cSld>
  <p:clrMap bg1="lt1" tx1="dk1" bg2="lt2" tx2="dk2" accent1="accent1" accent2="accent2" accent3="accent3" accent4="accent4" accent5="accent5" accent6="accent6" hlink="hlink" folHlink="folHlink"/>
  <p:sldLayoutIdLst>
    <p:sldLayoutId id="2147485860" r:id="rId1"/>
    <p:sldLayoutId id="2147485861" r:id="rId2"/>
    <p:sldLayoutId id="2147485862" r:id="rId3"/>
    <p:sldLayoutId id="2147485863" r:id="rId4"/>
    <p:sldLayoutId id="2147485864" r:id="rId5"/>
    <p:sldLayoutId id="2147485865" r:id="rId6"/>
    <p:sldLayoutId id="2147485866" r:id="rId7"/>
    <p:sldLayoutId id="2147485867" r:id="rId8"/>
    <p:sldLayoutId id="2147485871" r:id="rId9"/>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2"/>
              </a:gs>
              <a:gs pos="100000">
                <a:schemeClr val="tx2"/>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80"/>
            <a:ext cx="11653521" cy="192684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2036120"/>
      </p:ext>
    </p:extLst>
  </p:cSld>
  <p:clrMap bg1="dk1" tx1="lt1" bg2="dk2" tx2="lt2" accent1="accent1" accent2="accent2" accent3="accent3" accent4="accent4" accent5="accent5" accent6="accent6" hlink="hlink" folHlink="folHlink"/>
  <p:sldLayoutIdLst>
    <p:sldLayoutId id="2147485875" r:id="rId1"/>
    <p:sldLayoutId id="2147485876" r:id="rId2"/>
    <p:sldLayoutId id="2147485877" r:id="rId3"/>
    <p:sldLayoutId id="2147485878" r:id="rId4"/>
    <p:sldLayoutId id="2147485879" r:id="rId5"/>
    <p:sldLayoutId id="2147485880" r:id="rId6"/>
    <p:sldLayoutId id="2147485881" r:id="rId7"/>
    <p:sldLayoutId id="2147485882" r:id="rId8"/>
    <p:sldLayoutId id="2147485883" r:id="rId9"/>
    <p:sldLayoutId id="2147485884" r:id="rId10"/>
    <p:sldLayoutId id="2147485885" r:id="rId11"/>
    <p:sldLayoutId id="2147485886" r:id="rId12"/>
    <p:sldLayoutId id="2147485887" r:id="rId13"/>
    <p:sldLayoutId id="2147485888" r:id="rId14"/>
    <p:sldLayoutId id="2147485889" r:id="rId15"/>
    <p:sldLayoutId id="2147485890" r:id="rId16"/>
    <p:sldLayoutId id="2147485891" r:id="rId17"/>
    <p:sldLayoutId id="2147485892" r:id="rId18"/>
    <p:sldLayoutId id="2147485893" r:id="rId19"/>
    <p:sldLayoutId id="2147485894" r:id="rId20"/>
    <p:sldLayoutId id="2147485895" r:id="rId21"/>
    <p:sldLayoutId id="2147485896" r:id="rId22"/>
    <p:sldLayoutId id="2147485897" r:id="rId23"/>
    <p:sldLayoutId id="2147485898" r:id="rId24"/>
    <p:sldLayoutId id="2147485899" r:id="rId25"/>
    <p:sldLayoutId id="2147485900" r:id="rId26"/>
  </p:sldLayoutIdLst>
  <p:transition>
    <p:fade/>
  </p:transition>
  <p:txStyles>
    <p:titleStyle>
      <a:lvl1pPr algn="l" defTabSz="857055" rtl="0" eaLnBrk="1" latinLnBrk="0" hangingPunct="1">
        <a:lnSpc>
          <a:spcPct val="90000"/>
        </a:lnSpc>
        <a:spcBef>
          <a:spcPct val="0"/>
        </a:spcBef>
        <a:buNone/>
        <a:defRPr lang="en-US" sz="4962" b="0" kern="1200" cap="none" spc="-9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15075" marR="0" indent="-315075" algn="l" defTabSz="857055" rtl="0" eaLnBrk="1" fontAlgn="auto" latinLnBrk="0" hangingPunct="1">
        <a:lnSpc>
          <a:spcPct val="90000"/>
        </a:lnSpc>
        <a:spcBef>
          <a:spcPct val="20000"/>
        </a:spcBef>
        <a:spcAft>
          <a:spcPts val="0"/>
        </a:spcAft>
        <a:buClrTx/>
        <a:buSzPct val="90000"/>
        <a:buFont typeface="Arial" pitchFamily="34" charset="0"/>
        <a:buChar char="•"/>
        <a:tabLst/>
        <a:defRPr sz="3675" kern="1200" spc="0" baseline="0">
          <a:gradFill>
            <a:gsLst>
              <a:gs pos="1250">
                <a:schemeClr val="tx1"/>
              </a:gs>
              <a:gs pos="100000">
                <a:schemeClr val="tx1"/>
              </a:gs>
            </a:gsLst>
            <a:lin ang="5400000" scaled="0"/>
          </a:gradFill>
          <a:latin typeface="+mj-lt"/>
          <a:ea typeface="+mn-ea"/>
          <a:cs typeface="+mn-cs"/>
        </a:defRPr>
      </a:lvl1pPr>
      <a:lvl2pPr marL="536795" marR="0" indent="-221719" algn="l" defTabSz="857055" rtl="0" eaLnBrk="1" fontAlgn="auto" latinLnBrk="0" hangingPunct="1">
        <a:lnSpc>
          <a:spcPct val="90000"/>
        </a:lnSpc>
        <a:spcBef>
          <a:spcPct val="20000"/>
        </a:spcBef>
        <a:spcAft>
          <a:spcPts val="0"/>
        </a:spcAft>
        <a:buClrTx/>
        <a:buSzPct val="90000"/>
        <a:buFont typeface="Arial" pitchFamily="34" charset="0"/>
        <a:buChar char="•"/>
        <a:tabLst/>
        <a:defRPr sz="2206" kern="1200" spc="0" baseline="0">
          <a:gradFill>
            <a:gsLst>
              <a:gs pos="1250">
                <a:schemeClr val="tx1"/>
              </a:gs>
              <a:gs pos="100000">
                <a:schemeClr val="tx1"/>
              </a:gs>
            </a:gsLst>
            <a:lin ang="5400000" scaled="0"/>
          </a:gradFill>
          <a:latin typeface="+mn-lt"/>
          <a:ea typeface="+mn-ea"/>
          <a:cs typeface="+mn-cs"/>
        </a:defRPr>
      </a:lvl2pPr>
      <a:lvl3pPr marL="735176" marR="0" indent="-210051" algn="l" defTabSz="857055" rtl="0" eaLnBrk="1" fontAlgn="auto" latinLnBrk="0" hangingPunct="1">
        <a:lnSpc>
          <a:spcPct val="90000"/>
        </a:lnSpc>
        <a:spcBef>
          <a:spcPct val="20000"/>
        </a:spcBef>
        <a:spcAft>
          <a:spcPts val="0"/>
        </a:spcAft>
        <a:buClrTx/>
        <a:buSzPct val="90000"/>
        <a:buFont typeface="Arial" pitchFamily="34" charset="0"/>
        <a:buChar char="•"/>
        <a:tabLst/>
        <a:defRPr sz="1838" kern="1200" spc="0" baseline="0">
          <a:gradFill>
            <a:gsLst>
              <a:gs pos="1250">
                <a:schemeClr val="tx1"/>
              </a:gs>
              <a:gs pos="100000">
                <a:schemeClr val="tx1"/>
              </a:gs>
            </a:gsLst>
            <a:lin ang="5400000" scaled="0"/>
          </a:gradFill>
          <a:latin typeface="+mn-lt"/>
          <a:ea typeface="+mn-ea"/>
          <a:cs typeface="+mn-cs"/>
        </a:defRPr>
      </a:lvl3pPr>
      <a:lvl4pPr marL="945227" marR="0" indent="-210051" algn="l" defTabSz="857055" rtl="0" eaLnBrk="1" fontAlgn="auto" latinLnBrk="0" hangingPunct="1">
        <a:lnSpc>
          <a:spcPct val="90000"/>
        </a:lnSpc>
        <a:spcBef>
          <a:spcPct val="20000"/>
        </a:spcBef>
        <a:spcAft>
          <a:spcPts val="0"/>
        </a:spcAft>
        <a:buClrTx/>
        <a:buSzPct val="90000"/>
        <a:buFont typeface="Arial" pitchFamily="34" charset="0"/>
        <a:buChar char="•"/>
        <a:tabLst/>
        <a:defRPr sz="1655" kern="1200" spc="0" baseline="0">
          <a:gradFill>
            <a:gsLst>
              <a:gs pos="1250">
                <a:schemeClr val="tx1"/>
              </a:gs>
              <a:gs pos="100000">
                <a:schemeClr val="tx1"/>
              </a:gs>
            </a:gsLst>
            <a:lin ang="5400000" scaled="0"/>
          </a:gradFill>
          <a:latin typeface="+mn-lt"/>
          <a:ea typeface="+mn-ea"/>
          <a:cs typeface="+mn-cs"/>
        </a:defRPr>
      </a:lvl4pPr>
      <a:lvl5pPr marL="1155276" marR="0" indent="-210051" algn="l" defTabSz="857055" rtl="0" eaLnBrk="1" fontAlgn="auto" latinLnBrk="0" hangingPunct="1">
        <a:lnSpc>
          <a:spcPct val="90000"/>
        </a:lnSpc>
        <a:spcBef>
          <a:spcPct val="20000"/>
        </a:spcBef>
        <a:spcAft>
          <a:spcPts val="0"/>
        </a:spcAft>
        <a:buClrTx/>
        <a:buSzPct val="90000"/>
        <a:buFont typeface="Arial" pitchFamily="34" charset="0"/>
        <a:buChar char="•"/>
        <a:tabLst/>
        <a:defRPr sz="1655" kern="1200" spc="0" baseline="0">
          <a:gradFill>
            <a:gsLst>
              <a:gs pos="1250">
                <a:schemeClr val="tx1"/>
              </a:gs>
              <a:gs pos="100000">
                <a:schemeClr val="tx1"/>
              </a:gs>
            </a:gsLst>
            <a:lin ang="5400000" scaled="0"/>
          </a:gradFill>
          <a:latin typeface="+mn-lt"/>
          <a:ea typeface="+mn-ea"/>
          <a:cs typeface="+mn-cs"/>
        </a:defRPr>
      </a:lvl5pPr>
      <a:lvl6pPr marL="2356899" indent="-214264" algn="l" defTabSz="857055" rtl="0" eaLnBrk="1" latinLnBrk="0" hangingPunct="1">
        <a:spcBef>
          <a:spcPct val="20000"/>
        </a:spcBef>
        <a:buFont typeface="Arial" pitchFamily="34" charset="0"/>
        <a:buChar char="•"/>
        <a:defRPr sz="1838" kern="1200">
          <a:solidFill>
            <a:schemeClr val="tx1"/>
          </a:solidFill>
          <a:latin typeface="+mn-lt"/>
          <a:ea typeface="+mn-ea"/>
          <a:cs typeface="+mn-cs"/>
        </a:defRPr>
      </a:lvl6pPr>
      <a:lvl7pPr marL="2785427" indent="-214264" algn="l" defTabSz="857055" rtl="0" eaLnBrk="1" latinLnBrk="0" hangingPunct="1">
        <a:spcBef>
          <a:spcPct val="20000"/>
        </a:spcBef>
        <a:buFont typeface="Arial" pitchFamily="34" charset="0"/>
        <a:buChar char="•"/>
        <a:defRPr sz="1838" kern="1200">
          <a:solidFill>
            <a:schemeClr val="tx1"/>
          </a:solidFill>
          <a:latin typeface="+mn-lt"/>
          <a:ea typeface="+mn-ea"/>
          <a:cs typeface="+mn-cs"/>
        </a:defRPr>
      </a:lvl7pPr>
      <a:lvl8pPr marL="3213955" indent="-214264" algn="l" defTabSz="857055" rtl="0" eaLnBrk="1" latinLnBrk="0" hangingPunct="1">
        <a:spcBef>
          <a:spcPct val="20000"/>
        </a:spcBef>
        <a:buFont typeface="Arial" pitchFamily="34" charset="0"/>
        <a:buChar char="•"/>
        <a:defRPr sz="1838" kern="1200">
          <a:solidFill>
            <a:schemeClr val="tx1"/>
          </a:solidFill>
          <a:latin typeface="+mn-lt"/>
          <a:ea typeface="+mn-ea"/>
          <a:cs typeface="+mn-cs"/>
        </a:defRPr>
      </a:lvl8pPr>
      <a:lvl9pPr marL="3642482" indent="-214264" algn="l" defTabSz="857055" rtl="0" eaLnBrk="1" latinLnBrk="0" hangingPunct="1">
        <a:spcBef>
          <a:spcPct val="20000"/>
        </a:spcBef>
        <a:buFont typeface="Arial" pitchFamily="34" charset="0"/>
        <a:buChar char="•"/>
        <a:defRPr sz="1838" kern="1200">
          <a:solidFill>
            <a:schemeClr val="tx1"/>
          </a:solidFill>
          <a:latin typeface="+mn-lt"/>
          <a:ea typeface="+mn-ea"/>
          <a:cs typeface="+mn-cs"/>
        </a:defRPr>
      </a:lvl9pPr>
    </p:bodyStyle>
    <p:otherStyle>
      <a:defPPr>
        <a:defRPr lang="en-US"/>
      </a:defPPr>
      <a:lvl1pPr marL="0" algn="l" defTabSz="857055" rtl="0" eaLnBrk="1" latinLnBrk="0" hangingPunct="1">
        <a:defRPr sz="1655" kern="1200">
          <a:solidFill>
            <a:schemeClr val="tx1"/>
          </a:solidFill>
          <a:latin typeface="+mn-lt"/>
          <a:ea typeface="+mn-ea"/>
          <a:cs typeface="+mn-cs"/>
        </a:defRPr>
      </a:lvl1pPr>
      <a:lvl2pPr marL="428526" algn="l" defTabSz="857055" rtl="0" eaLnBrk="1" latinLnBrk="0" hangingPunct="1">
        <a:defRPr sz="1655" kern="1200">
          <a:solidFill>
            <a:schemeClr val="tx1"/>
          </a:solidFill>
          <a:latin typeface="+mn-lt"/>
          <a:ea typeface="+mn-ea"/>
          <a:cs typeface="+mn-cs"/>
        </a:defRPr>
      </a:lvl2pPr>
      <a:lvl3pPr marL="857055" algn="l" defTabSz="857055" rtl="0" eaLnBrk="1" latinLnBrk="0" hangingPunct="1">
        <a:defRPr sz="1655" kern="1200">
          <a:solidFill>
            <a:schemeClr val="tx1"/>
          </a:solidFill>
          <a:latin typeface="+mn-lt"/>
          <a:ea typeface="+mn-ea"/>
          <a:cs typeface="+mn-cs"/>
        </a:defRPr>
      </a:lvl3pPr>
      <a:lvl4pPr marL="1285581" algn="l" defTabSz="857055" rtl="0" eaLnBrk="1" latinLnBrk="0" hangingPunct="1">
        <a:defRPr sz="1655" kern="1200">
          <a:solidFill>
            <a:schemeClr val="tx1"/>
          </a:solidFill>
          <a:latin typeface="+mn-lt"/>
          <a:ea typeface="+mn-ea"/>
          <a:cs typeface="+mn-cs"/>
        </a:defRPr>
      </a:lvl4pPr>
      <a:lvl5pPr marL="1714108" algn="l" defTabSz="857055" rtl="0" eaLnBrk="1" latinLnBrk="0" hangingPunct="1">
        <a:defRPr sz="1655" kern="1200">
          <a:solidFill>
            <a:schemeClr val="tx1"/>
          </a:solidFill>
          <a:latin typeface="+mn-lt"/>
          <a:ea typeface="+mn-ea"/>
          <a:cs typeface="+mn-cs"/>
        </a:defRPr>
      </a:lvl5pPr>
      <a:lvl6pPr marL="2142637" algn="l" defTabSz="857055" rtl="0" eaLnBrk="1" latinLnBrk="0" hangingPunct="1">
        <a:defRPr sz="1655" kern="1200">
          <a:solidFill>
            <a:schemeClr val="tx1"/>
          </a:solidFill>
          <a:latin typeface="+mn-lt"/>
          <a:ea typeface="+mn-ea"/>
          <a:cs typeface="+mn-cs"/>
        </a:defRPr>
      </a:lvl6pPr>
      <a:lvl7pPr marL="2571163" algn="l" defTabSz="857055" rtl="0" eaLnBrk="1" latinLnBrk="0" hangingPunct="1">
        <a:defRPr sz="1655" kern="1200">
          <a:solidFill>
            <a:schemeClr val="tx1"/>
          </a:solidFill>
          <a:latin typeface="+mn-lt"/>
          <a:ea typeface="+mn-ea"/>
          <a:cs typeface="+mn-cs"/>
        </a:defRPr>
      </a:lvl7pPr>
      <a:lvl8pPr marL="2999690" algn="l" defTabSz="857055" rtl="0" eaLnBrk="1" latinLnBrk="0" hangingPunct="1">
        <a:defRPr sz="1655" kern="1200">
          <a:solidFill>
            <a:schemeClr val="tx1"/>
          </a:solidFill>
          <a:latin typeface="+mn-lt"/>
          <a:ea typeface="+mn-ea"/>
          <a:cs typeface="+mn-cs"/>
        </a:defRPr>
      </a:lvl8pPr>
      <a:lvl9pPr marL="3428219" algn="l" defTabSz="857055" rtl="0" eaLnBrk="1" latinLnBrk="0" hangingPunct="1">
        <a:defRPr sz="165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xml"/><Relationship Id="rId1" Type="http://schemas.openxmlformats.org/officeDocument/2006/relationships/slideLayout" Target="../slideLayouts/slideLayout71.xml"/><Relationship Id="rId4" Type="http://schemas.openxmlformats.org/officeDocument/2006/relationships/image" Target="../media/image119.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10.xml"/><Relationship Id="rId1" Type="http://schemas.openxmlformats.org/officeDocument/2006/relationships/slideLayout" Target="../slideLayouts/slideLayout44.xml"/><Relationship Id="rId6" Type="http://schemas.openxmlformats.org/officeDocument/2006/relationships/image" Target="../media/image149.svg"/><Relationship Id="rId5" Type="http://schemas.openxmlformats.org/officeDocument/2006/relationships/image" Target="../media/image148.png"/><Relationship Id="rId4" Type="http://schemas.openxmlformats.org/officeDocument/2006/relationships/image" Target="../media/image151.png"/></Relationships>
</file>

<file path=ppt/slides/_rels/slide12.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customXml" Target="../ink/ink2.xml"/><Relationship Id="rId7" Type="http://schemas.openxmlformats.org/officeDocument/2006/relationships/customXml" Target="../ink/ink4.xml"/><Relationship Id="rId2" Type="http://schemas.openxmlformats.org/officeDocument/2006/relationships/notesSlide" Target="../notesSlides/notesSlide11.xml"/><Relationship Id="rId1" Type="http://schemas.openxmlformats.org/officeDocument/2006/relationships/slideLayout" Target="../slideLayouts/slideLayout76.xml"/><Relationship Id="rId6" Type="http://schemas.openxmlformats.org/officeDocument/2006/relationships/image" Target="../media/image150.png"/><Relationship Id="rId5" Type="http://schemas.openxmlformats.org/officeDocument/2006/relationships/customXml" Target="../ink/ink3.xml"/><Relationship Id="rId4" Type="http://schemas.openxmlformats.org/officeDocument/2006/relationships/image" Target="../media/image152.png"/></Relationships>
</file>

<file path=ppt/slides/_rels/slide13.xml.rels><?xml version="1.0" encoding="UTF-8" standalone="yes"?>
<Relationships xmlns="http://schemas.openxmlformats.org/package/2006/relationships"><Relationship Id="rId8" Type="http://schemas.openxmlformats.org/officeDocument/2006/relationships/image" Target="../media/image15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44.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154.svg"/><Relationship Id="rId4" Type="http://schemas.openxmlformats.org/officeDocument/2006/relationships/diagramLayout" Target="../diagrams/layout1.xml"/><Relationship Id="rId9" Type="http://schemas.openxmlformats.org/officeDocument/2006/relationships/image" Target="../media/image153.png"/></Relationships>
</file>

<file path=ppt/slides/_rels/slide14.xml.rels><?xml version="1.0" encoding="UTF-8" standalone="yes"?>
<Relationships xmlns="http://schemas.openxmlformats.org/package/2006/relationships"><Relationship Id="rId3" Type="http://schemas.openxmlformats.org/officeDocument/2006/relationships/customXml" Target="../ink/ink5.xml"/><Relationship Id="rId7" Type="http://schemas.openxmlformats.org/officeDocument/2006/relationships/image" Target="../media/image158.png"/><Relationship Id="rId2" Type="http://schemas.openxmlformats.org/officeDocument/2006/relationships/notesSlide" Target="../notesSlides/notesSlide13.xml"/><Relationship Id="rId1" Type="http://schemas.openxmlformats.org/officeDocument/2006/relationships/slideLayout" Target="../slideLayouts/slideLayout76.xml"/><Relationship Id="rId6" Type="http://schemas.openxmlformats.org/officeDocument/2006/relationships/image" Target="../media/image154.png"/><Relationship Id="rId5" Type="http://schemas.openxmlformats.org/officeDocument/2006/relationships/customXml" Target="../ink/ink6.xml"/><Relationship Id="rId4" Type="http://schemas.openxmlformats.org/officeDocument/2006/relationships/image" Target="../media/image152.png"/></Relationships>
</file>

<file path=ppt/slides/_rels/slide15.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4.xml"/><Relationship Id="rId1" Type="http://schemas.openxmlformats.org/officeDocument/2006/relationships/slideLayout" Target="../slideLayouts/slideLayout76.xml"/><Relationship Id="rId5" Type="http://schemas.openxmlformats.org/officeDocument/2006/relationships/image" Target="../media/image160.svg"/><Relationship Id="rId4" Type="http://schemas.openxmlformats.org/officeDocument/2006/relationships/image" Target="../media/image159.png"/></Relationships>
</file>

<file path=ppt/slides/_rels/slide16.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5.xml"/><Relationship Id="rId1" Type="http://schemas.openxmlformats.org/officeDocument/2006/relationships/slideLayout" Target="../slideLayouts/slideLayout76.xml"/><Relationship Id="rId5" Type="http://schemas.openxmlformats.org/officeDocument/2006/relationships/image" Target="../media/image160.svg"/><Relationship Id="rId4" Type="http://schemas.openxmlformats.org/officeDocument/2006/relationships/image" Target="../media/image159.png"/></Relationships>
</file>

<file path=ppt/slides/_rels/slide17.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6.xml"/><Relationship Id="rId1" Type="http://schemas.openxmlformats.org/officeDocument/2006/relationships/slideLayout" Target="../slideLayouts/slideLayout44.xml"/><Relationship Id="rId5" Type="http://schemas.openxmlformats.org/officeDocument/2006/relationships/image" Target="../media/image158.png"/><Relationship Id="rId4" Type="http://schemas.openxmlformats.org/officeDocument/2006/relationships/image" Target="../media/image160.svg"/></Relationships>
</file>

<file path=ppt/slides/_rels/slide18.xml.rels><?xml version="1.0" encoding="UTF-8" standalone="yes"?>
<Relationships xmlns="http://schemas.openxmlformats.org/package/2006/relationships"><Relationship Id="rId3" Type="http://schemas.openxmlformats.org/officeDocument/2006/relationships/hyperlink" Target="https://docs.microsoft.com/azure/iot-hub/iot-hub-scaling" TargetMode="External"/><Relationship Id="rId2" Type="http://schemas.openxmlformats.org/officeDocument/2006/relationships/notesSlide" Target="../notesSlides/notesSlide17.xml"/><Relationship Id="rId1" Type="http://schemas.openxmlformats.org/officeDocument/2006/relationships/slideLayout" Target="../slideLayouts/slideLayout76.xml"/><Relationship Id="rId5" Type="http://schemas.openxmlformats.org/officeDocument/2006/relationships/image" Target="../media/image162.png"/><Relationship Id="rId4" Type="http://schemas.openxmlformats.org/officeDocument/2006/relationships/image" Target="../media/image161.png"/></Relationships>
</file>

<file path=ppt/slides/_rels/slide19.xml.rels><?xml version="1.0" encoding="UTF-8" standalone="yes"?>
<Relationships xmlns="http://schemas.openxmlformats.org/package/2006/relationships"><Relationship Id="rId8" Type="http://schemas.openxmlformats.org/officeDocument/2006/relationships/image" Target="../media/image168.png"/><Relationship Id="rId13" Type="http://schemas.openxmlformats.org/officeDocument/2006/relationships/image" Target="../media/image173.png"/><Relationship Id="rId18" Type="http://schemas.openxmlformats.org/officeDocument/2006/relationships/image" Target="../media/image178.png"/><Relationship Id="rId3" Type="http://schemas.openxmlformats.org/officeDocument/2006/relationships/image" Target="../media/image163.png"/><Relationship Id="rId7" Type="http://schemas.openxmlformats.org/officeDocument/2006/relationships/image" Target="../media/image167.png"/><Relationship Id="rId12" Type="http://schemas.openxmlformats.org/officeDocument/2006/relationships/image" Target="../media/image172.png"/><Relationship Id="rId17" Type="http://schemas.openxmlformats.org/officeDocument/2006/relationships/image" Target="../media/image177.png"/><Relationship Id="rId2" Type="http://schemas.openxmlformats.org/officeDocument/2006/relationships/notesSlide" Target="../notesSlides/notesSlide18.xml"/><Relationship Id="rId16" Type="http://schemas.openxmlformats.org/officeDocument/2006/relationships/image" Target="../media/image176.png"/><Relationship Id="rId20" Type="http://schemas.openxmlformats.org/officeDocument/2006/relationships/image" Target="../media/image180.png"/><Relationship Id="rId1" Type="http://schemas.openxmlformats.org/officeDocument/2006/relationships/slideLayout" Target="../slideLayouts/slideLayout494.xml"/><Relationship Id="rId6" Type="http://schemas.openxmlformats.org/officeDocument/2006/relationships/image" Target="../media/image166.png"/><Relationship Id="rId11" Type="http://schemas.openxmlformats.org/officeDocument/2006/relationships/image" Target="../media/image171.jpeg"/><Relationship Id="rId5" Type="http://schemas.openxmlformats.org/officeDocument/2006/relationships/image" Target="../media/image165.png"/><Relationship Id="rId15" Type="http://schemas.openxmlformats.org/officeDocument/2006/relationships/image" Target="../media/image175.png"/><Relationship Id="rId10" Type="http://schemas.openxmlformats.org/officeDocument/2006/relationships/image" Target="../media/image170.jpeg"/><Relationship Id="rId19" Type="http://schemas.openxmlformats.org/officeDocument/2006/relationships/image" Target="../media/image179.png"/><Relationship Id="rId4" Type="http://schemas.openxmlformats.org/officeDocument/2006/relationships/image" Target="../media/image164.jpeg"/><Relationship Id="rId9" Type="http://schemas.openxmlformats.org/officeDocument/2006/relationships/image" Target="../media/image169.png"/><Relationship Id="rId14" Type="http://schemas.openxmlformats.org/officeDocument/2006/relationships/image" Target="../media/image174.jpeg"/></Relationships>
</file>

<file path=ppt/slides/_rels/slide2.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124.png"/><Relationship Id="rId2" Type="http://schemas.openxmlformats.org/officeDocument/2006/relationships/notesSlide" Target="../notesSlides/notesSlide2.xml"/><Relationship Id="rId1" Type="http://schemas.openxmlformats.org/officeDocument/2006/relationships/slideLayout" Target="../slideLayouts/slideLayout22.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s>
</file>

<file path=ppt/slides/_rels/slide20.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157.png"/><Relationship Id="rId2" Type="http://schemas.openxmlformats.org/officeDocument/2006/relationships/notesSlide" Target="../notesSlides/notesSlide19.xml"/><Relationship Id="rId1" Type="http://schemas.openxmlformats.org/officeDocument/2006/relationships/slideLayout" Target="../slideLayouts/slideLayout22.xml"/><Relationship Id="rId6" Type="http://schemas.openxmlformats.org/officeDocument/2006/relationships/image" Target="../media/image181.png"/><Relationship Id="rId5" Type="http://schemas.openxmlformats.org/officeDocument/2006/relationships/image" Target="../media/image160.svg"/><Relationship Id="rId4" Type="http://schemas.openxmlformats.org/officeDocument/2006/relationships/image" Target="../media/image159.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8.png"/><Relationship Id="rId3" Type="http://schemas.openxmlformats.org/officeDocument/2006/relationships/hyperlink" Target="https://aka.ms/mslearniot" TargetMode="External"/><Relationship Id="rId7" Type="http://schemas.openxmlformats.org/officeDocument/2006/relationships/image" Target="../media/image182.png"/><Relationship Id="rId12" Type="http://schemas.openxmlformats.org/officeDocument/2006/relationships/image" Target="../media/image187.png"/><Relationship Id="rId17" Type="http://schemas.openxmlformats.org/officeDocument/2006/relationships/hyperlink" Target="https://aka.ms/IntroAzureIoTLearningPath" TargetMode="External"/><Relationship Id="rId2" Type="http://schemas.openxmlformats.org/officeDocument/2006/relationships/notesSlide" Target="../notesSlides/notesSlide21.xml"/><Relationship Id="rId16" Type="http://schemas.openxmlformats.org/officeDocument/2006/relationships/image" Target="../media/image191.png"/><Relationship Id="rId1" Type="http://schemas.openxmlformats.org/officeDocument/2006/relationships/slideLayout" Target="../slideLayouts/slideLayout22.xml"/><Relationship Id="rId6" Type="http://schemas.openxmlformats.org/officeDocument/2006/relationships/hyperlink" Target="https://docs.microsoft.com/en-us/azure/iot-fundamentals/" TargetMode="External"/><Relationship Id="rId11" Type="http://schemas.openxmlformats.org/officeDocument/2006/relationships/image" Target="../media/image186.svg"/><Relationship Id="rId5" Type="http://schemas.openxmlformats.org/officeDocument/2006/relationships/hyperlink" Target="https://aka.ms/iottechcommunity" TargetMode="External"/><Relationship Id="rId15" Type="http://schemas.openxmlformats.org/officeDocument/2006/relationships/image" Target="../media/image190.png"/><Relationship Id="rId10" Type="http://schemas.openxmlformats.org/officeDocument/2006/relationships/image" Target="../media/image185.png"/><Relationship Id="rId4" Type="http://schemas.openxmlformats.org/officeDocument/2006/relationships/hyperlink" Target="https://aka.ms/msiotdevs" TargetMode="External"/><Relationship Id="rId9" Type="http://schemas.openxmlformats.org/officeDocument/2006/relationships/image" Target="../media/image184.svg"/><Relationship Id="rId14" Type="http://schemas.openxmlformats.org/officeDocument/2006/relationships/image" Target="../media/image189.png"/></Relationships>
</file>

<file path=ppt/slides/_rels/slide23.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22.xml"/><Relationship Id="rId1" Type="http://schemas.openxmlformats.org/officeDocument/2006/relationships/slideLayout" Target="../slideLayouts/slideLayout22.xml"/><Relationship Id="rId4" Type="http://schemas.openxmlformats.org/officeDocument/2006/relationships/hyperlink" Target="https://nam06.safelinks.protection.outlook.com/?url=https%3A%2F%2Faka.ms%2F30DaysCSC%2FIoT&amp;data=04%7C01%7Cpacorte%40microsoft.com%7Caf050bc75ccc49adcc6d08d8c93b08d6%7C72f988bf86f141af91ab2d7cd011db47%7C1%7C0%7C637480602671162617%7CUnknown%7CTWFpbGZsb3d8eyJWIjoiMC4wLjAwMDAiLCJQIjoiV2luMzIiLCJBTiI6Ik1haWwiLCJXVCI6Mn0%3D%7C1000&amp;sdata=9bQM%2ByyWPBSI1yE%2BrYujOj%2BItlyAO3evWhKeiLwGU%2BI%3D&amp;reserved=0"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nam06.safelinks.protection.outlook.com/?url=http%3A%2F%2Faka.ms%2FEmbeddedDevResearch&amp;data=04%7C01%7Cpacorte%40microsoft.com%7C3055b692064b4d49de7c08d8dcf778c7%7C72f988bf86f141af91ab2d7cd011db47%7C1%7C0%7C637502302725381068%7CUnknown%7CTWFpbGZsb3d8eyJWIjoiMC4wLjAwMDAiLCJQIjoiV2luMzIiLCJBTiI6Ik1haWwiLCJXVCI6Mn0%3D%7C1000&amp;sdata=p2qmfQjwUiDq7iOaSNK9TKynmugvr1dz4Rbb%2BlCHwTI%3D&amp;reserved=0" TargetMode="External"/><Relationship Id="rId2" Type="http://schemas.openxmlformats.org/officeDocument/2006/relationships/notesSlide" Target="../notesSlides/notesSlide23.xm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8" Type="http://schemas.openxmlformats.org/officeDocument/2006/relationships/hyperlink" Target="https://aka.ms/msiotdevs" TargetMode="External"/><Relationship Id="rId3" Type="http://schemas.openxmlformats.org/officeDocument/2006/relationships/hyperlink" Target="https://aka.ms/iotrefarchitecture" TargetMode="External"/><Relationship Id="rId7" Type="http://schemas.openxmlformats.org/officeDocument/2006/relationships/hyperlink" Target="https://aka.ms/mslearniot" TargetMode="External"/><Relationship Id="rId2" Type="http://schemas.openxmlformats.org/officeDocument/2006/relationships/notesSlide" Target="../notesSlides/notesSlide24.xml"/><Relationship Id="rId1" Type="http://schemas.openxmlformats.org/officeDocument/2006/relationships/slideLayout" Target="../slideLayouts/slideLayout22.xml"/><Relationship Id="rId6" Type="http://schemas.openxmlformats.org/officeDocument/2006/relationships/hyperlink" Target="https://nam06.safelinks.protection.outlook.com/?url=https%3A%2F%2Faka.ms%2F30DaysCSC%2FIoT&amp;data=04%7C01%7Cpacorte%40microsoft.com%7Caf050bc75ccc49adcc6d08d8c93b08d6%7C72f988bf86f141af91ab2d7cd011db47%7C1%7C0%7C637480602671162617%7CUnknown%7CTWFpbGZsb3d8eyJWIjoiMC4wLjAwMDAiLCJQIjoiV2luMzIiLCJBTiI6Ik1haWwiLCJXVCI6Mn0%3D%7C1000&amp;sdata=9bQM%2ByyWPBSI1yE%2BrYujOj%2BItlyAO3evWhKeiLwGU%2BI%3D&amp;reserved=0" TargetMode="External"/><Relationship Id="rId5" Type="http://schemas.openxmlformats.org/officeDocument/2006/relationships/hyperlink" Target="https://apps.azureiotcentral.com/myapps" TargetMode="External"/><Relationship Id="rId10" Type="http://schemas.openxmlformats.org/officeDocument/2006/relationships/hyperlink" Target="https://docs.microsoft.com/en-us/azure/iot-fundamentals/" TargetMode="External"/><Relationship Id="rId4" Type="http://schemas.openxmlformats.org/officeDocument/2006/relationships/hyperlink" Target="https://aka.ms/get-started-azure-2021" TargetMode="External"/><Relationship Id="rId9" Type="http://schemas.openxmlformats.org/officeDocument/2006/relationships/hyperlink" Target="https://aka.ms/iottechcommunity"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8" Type="http://schemas.openxmlformats.org/officeDocument/2006/relationships/image" Target="../media/image130.svg"/><Relationship Id="rId13" Type="http://schemas.openxmlformats.org/officeDocument/2006/relationships/image" Target="../media/image135.png"/><Relationship Id="rId3" Type="http://schemas.openxmlformats.org/officeDocument/2006/relationships/image" Target="../media/image125.png"/><Relationship Id="rId7" Type="http://schemas.openxmlformats.org/officeDocument/2006/relationships/image" Target="../media/image129.png"/><Relationship Id="rId12" Type="http://schemas.openxmlformats.org/officeDocument/2006/relationships/image" Target="../media/image134.svg"/><Relationship Id="rId2" Type="http://schemas.openxmlformats.org/officeDocument/2006/relationships/notesSlide" Target="../notesSlides/notesSlide5.xml"/><Relationship Id="rId1" Type="http://schemas.openxmlformats.org/officeDocument/2006/relationships/slideLayout" Target="../slideLayouts/slideLayout80.xml"/><Relationship Id="rId6" Type="http://schemas.openxmlformats.org/officeDocument/2006/relationships/image" Target="../media/image128.svg"/><Relationship Id="rId11" Type="http://schemas.openxmlformats.org/officeDocument/2006/relationships/image" Target="../media/image133.png"/><Relationship Id="rId5" Type="http://schemas.openxmlformats.org/officeDocument/2006/relationships/image" Target="../media/image127.png"/><Relationship Id="rId10" Type="http://schemas.openxmlformats.org/officeDocument/2006/relationships/image" Target="../media/image132.svg"/><Relationship Id="rId4" Type="http://schemas.openxmlformats.org/officeDocument/2006/relationships/image" Target="../media/image126.svg"/><Relationship Id="rId9" Type="http://schemas.openxmlformats.org/officeDocument/2006/relationships/image" Target="../media/image131.png"/><Relationship Id="rId14" Type="http://schemas.openxmlformats.org/officeDocument/2006/relationships/image" Target="../media/image136.svg"/></Relationships>
</file>

<file path=ppt/slides/_rels/slide6.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hyperlink" Target="https://www.gartner.com/document/3980003" TargetMode="External"/><Relationship Id="rId7" Type="http://schemas.openxmlformats.org/officeDocument/2006/relationships/image" Target="../media/image140.svg"/><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image" Target="../media/image139.png"/><Relationship Id="rId5" Type="http://schemas.openxmlformats.org/officeDocument/2006/relationships/image" Target="../media/image138.svg"/><Relationship Id="rId4" Type="http://schemas.openxmlformats.org/officeDocument/2006/relationships/image" Target="../media/image137.png"/></Relationships>
</file>

<file path=ppt/slides/_rels/slide7.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7.xml"/><Relationship Id="rId1" Type="http://schemas.openxmlformats.org/officeDocument/2006/relationships/slideLayout" Target="../slideLayouts/slideLayout20.xml"/><Relationship Id="rId5" Type="http://schemas.openxmlformats.org/officeDocument/2006/relationships/image" Target="../media/image144.png"/><Relationship Id="rId4" Type="http://schemas.openxmlformats.org/officeDocument/2006/relationships/image" Target="../media/image143.svg"/></Relationships>
</file>

<file path=ppt/slides/_rels/slide8.xml.rels><?xml version="1.0" encoding="UTF-8" standalone="yes"?>
<Relationships xmlns="http://schemas.openxmlformats.org/package/2006/relationships"><Relationship Id="rId3" Type="http://schemas.openxmlformats.org/officeDocument/2006/relationships/image" Target="../media/image145.emf"/><Relationship Id="rId2" Type="http://schemas.openxmlformats.org/officeDocument/2006/relationships/notesSlide" Target="../notesSlides/notesSlide8.xml"/><Relationship Id="rId1" Type="http://schemas.openxmlformats.org/officeDocument/2006/relationships/slideLayout" Target="../slideLayouts/slideLayout76.xml"/><Relationship Id="rId5" Type="http://schemas.openxmlformats.org/officeDocument/2006/relationships/image" Target="../media/image147.emf"/><Relationship Id="rId4" Type="http://schemas.openxmlformats.org/officeDocument/2006/relationships/image" Target="../media/image146.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71908B-50ED-4BC3-BD12-3A141E87B0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6465" y="5229589"/>
            <a:ext cx="434549" cy="434548"/>
          </a:xfrm>
          <a:prstGeom prst="rect">
            <a:avLst/>
          </a:prstGeom>
        </p:spPr>
      </p:pic>
      <p:sp>
        <p:nvSpPr>
          <p:cNvPr id="4" name="TextBox 3">
            <a:extLst>
              <a:ext uri="{FF2B5EF4-FFF2-40B4-BE49-F238E27FC236}">
                <a16:creationId xmlns:a16="http://schemas.microsoft.com/office/drawing/2014/main" id="{4FDB6368-69A1-4D99-BA12-570FAFF3DBDF}"/>
              </a:ext>
            </a:extLst>
          </p:cNvPr>
          <p:cNvSpPr txBox="1"/>
          <p:nvPr/>
        </p:nvSpPr>
        <p:spPr>
          <a:xfrm>
            <a:off x="828446" y="5203087"/>
            <a:ext cx="1591321"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t>
            </a:r>
            <a:r>
              <a:rPr lang="en-US" sz="1600" dirty="0">
                <a:solidFill>
                  <a:srgbClr val="FFFFFF"/>
                </a:solidFill>
                <a:latin typeface="Segoe UI" panose="020B0502040204020203" pitchFamily="34" charset="0"/>
                <a:cs typeface="Segoe UI" panose="020B0502040204020203" pitchFamily="34" charset="0"/>
              </a:rPr>
              <a:t>A</a:t>
            </a:r>
            <a:r>
              <a:rPr kumimoji="0" lang="en-US" sz="1600" b="0" i="0" u="none" strike="noStrike" kern="120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ltaOhms</a:t>
            </a:r>
            <a:endPar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pic>
        <p:nvPicPr>
          <p:cNvPr id="5" name="Picture 4">
            <a:extLst>
              <a:ext uri="{FF2B5EF4-FFF2-40B4-BE49-F238E27FC236}">
                <a16:creationId xmlns:a16="http://schemas.microsoft.com/office/drawing/2014/main" id="{4495D031-25E4-49A7-9685-879661EDF2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16" y="5705499"/>
            <a:ext cx="252448" cy="232470"/>
          </a:xfrm>
          <a:prstGeom prst="rect">
            <a:avLst/>
          </a:prstGeom>
        </p:spPr>
      </p:pic>
      <p:sp>
        <p:nvSpPr>
          <p:cNvPr id="7" name="TextBox 6">
            <a:extLst>
              <a:ext uri="{FF2B5EF4-FFF2-40B4-BE49-F238E27FC236}">
                <a16:creationId xmlns:a16="http://schemas.microsoft.com/office/drawing/2014/main" id="{EF1A9A90-9423-4288-8DAC-46A52289FFE8}"/>
              </a:ext>
            </a:extLst>
          </p:cNvPr>
          <p:cNvSpPr txBox="1"/>
          <p:nvPr/>
        </p:nvSpPr>
        <p:spPr>
          <a:xfrm>
            <a:off x="828446" y="5582199"/>
            <a:ext cx="3276421"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n/</a:t>
            </a:r>
            <a:r>
              <a:rPr kumimoji="0" lang="en-US" sz="1600" b="0" i="0" u="none" strike="noStrike" kern="120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pamelacortezhellotechie</a:t>
            </a:r>
            <a:endParaRPr kumimoji="0" lang="en-US" sz="16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9" name="Title 1">
            <a:extLst>
              <a:ext uri="{FF2B5EF4-FFF2-40B4-BE49-F238E27FC236}">
                <a16:creationId xmlns:a16="http://schemas.microsoft.com/office/drawing/2014/main" id="{98D682EF-4B23-4C4E-AFB2-8A5B6585FD88}"/>
              </a:ext>
            </a:extLst>
          </p:cNvPr>
          <p:cNvSpPr txBox="1">
            <a:spLocks/>
          </p:cNvSpPr>
          <p:nvPr/>
        </p:nvSpPr>
        <p:spPr>
          <a:xfrm>
            <a:off x="584200" y="1502451"/>
            <a:ext cx="6623424" cy="2031325"/>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rgbClr val="50E6FF"/>
                </a:solidFill>
                <a:effectLst/>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50" normalizeH="0" baseline="0" noProof="0" dirty="0">
                <a:ln w="3175">
                  <a:noFill/>
                </a:ln>
                <a:gradFill>
                  <a:gsLst>
                    <a:gs pos="0">
                      <a:srgbClr val="50E6FF"/>
                    </a:gs>
                    <a:gs pos="100000">
                      <a:srgbClr val="0078D4"/>
                    </a:gs>
                  </a:gsLst>
                  <a:lin ang="2700000" scaled="0"/>
                </a:gradFill>
                <a:effectLst/>
                <a:uLnTx/>
                <a:uFillTx/>
                <a:latin typeface="Segoe UI Semibold"/>
                <a:ea typeface="+mn-ea"/>
                <a:cs typeface="Segoe UI" panose="020B0502040204020203" pitchFamily="34" charset="0"/>
              </a:rPr>
              <a:t>Provision devices at scale</a:t>
            </a:r>
          </a:p>
        </p:txBody>
      </p:sp>
      <p:sp>
        <p:nvSpPr>
          <p:cNvPr id="11" name="Text Placeholder 4">
            <a:extLst>
              <a:ext uri="{FF2B5EF4-FFF2-40B4-BE49-F238E27FC236}">
                <a16:creationId xmlns:a16="http://schemas.microsoft.com/office/drawing/2014/main" id="{3BE32119-984D-4B35-AACE-EB7CC37F7660}"/>
              </a:ext>
            </a:extLst>
          </p:cNvPr>
          <p:cNvSpPr txBox="1">
            <a:spLocks/>
          </p:cNvSpPr>
          <p:nvPr/>
        </p:nvSpPr>
        <p:spPr>
          <a:xfrm>
            <a:off x="617516" y="3630025"/>
            <a:ext cx="6590107" cy="1292662"/>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amela Cortez </a:t>
            </a:r>
            <a:r>
              <a:rPr kumimoji="0" lang="en-US" sz="28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mn-ea"/>
                <a:cs typeface="Segoe UI Semibold" panose="020B0702040204020203" pitchFamily="34" charset="0"/>
              </a:rPr>
              <a:t>|</a:t>
            </a:r>
            <a:r>
              <a:rPr kumimoji="0" lang="en-US" sz="2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  </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Hardware Ecosystem Engagements &amp; Communities Senior PM, Azure IoT</a:t>
            </a:r>
          </a:p>
        </p:txBody>
      </p:sp>
    </p:spTree>
    <p:extLst>
      <p:ext uri="{BB962C8B-B14F-4D97-AF65-F5344CB8AC3E}">
        <p14:creationId xmlns:p14="http://schemas.microsoft.com/office/powerpoint/2010/main" val="4110689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10D2949C-68A5-4934-8871-47293C01679B}"/>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673988" y="2105025"/>
            <a:ext cx="4831462" cy="1107996"/>
          </a:xfrm>
        </p:spPr>
        <p:txBody>
          <a:bodyPr/>
          <a:lstStyle/>
          <a:p>
            <a:r>
              <a:rPr lang="en-US" dirty="0">
                <a:solidFill>
                  <a:schemeClr val="tx1"/>
                </a:solidFill>
              </a:rPr>
              <a:t>Why provisioning is hard today?</a:t>
            </a:r>
          </a:p>
        </p:txBody>
      </p:sp>
      <p:sp>
        <p:nvSpPr>
          <p:cNvPr id="5" name="Content Placeholder 4">
            <a:extLst>
              <a:ext uri="{FF2B5EF4-FFF2-40B4-BE49-F238E27FC236}">
                <a16:creationId xmlns:a16="http://schemas.microsoft.com/office/drawing/2014/main" id="{497ED86C-3FDA-4073-AEE6-00C8B00FA124}"/>
              </a:ext>
            </a:extLst>
          </p:cNvPr>
          <p:cNvSpPr>
            <a:spLocks noGrp="1"/>
          </p:cNvSpPr>
          <p:nvPr>
            <p:ph type="body" sz="quarter" idx="10"/>
          </p:nvPr>
        </p:nvSpPr>
        <p:spPr>
          <a:xfrm>
            <a:off x="6315075" y="1891570"/>
            <a:ext cx="4743442" cy="2080570"/>
          </a:xfrm>
        </p:spPr>
        <p:txBody>
          <a:bodyPr/>
          <a:lstStyle/>
          <a:p>
            <a:pPr marL="280121" lvl="2" indent="-280121">
              <a:buFont typeface="Arial" panose="020B0604020202020204" pitchFamily="34" charset="0"/>
              <a:buChar char="•"/>
            </a:pPr>
            <a:r>
              <a:rPr lang="en-US" sz="2000" dirty="0">
                <a:solidFill>
                  <a:srgbClr val="50E6FF"/>
                </a:solidFill>
                <a:latin typeface="+mj-lt"/>
              </a:rPr>
              <a:t>Solutions must have per-device revocable access</a:t>
            </a:r>
          </a:p>
          <a:p>
            <a:pPr marL="280121" lvl="2" indent="-280121">
              <a:buFont typeface="Arial" panose="020B0604020202020204" pitchFamily="34" charset="0"/>
              <a:buChar char="•"/>
            </a:pPr>
            <a:r>
              <a:rPr lang="en-US" sz="2000" dirty="0">
                <a:solidFill>
                  <a:srgbClr val="50E6FF"/>
                </a:solidFill>
                <a:latin typeface="+mj-lt"/>
              </a:rPr>
              <a:t>Provisioning is a manual process</a:t>
            </a:r>
          </a:p>
          <a:p>
            <a:pPr marL="280121" lvl="2" indent="-280121">
              <a:buFont typeface="Arial" panose="020B0604020202020204" pitchFamily="34" charset="0"/>
              <a:buChar char="•"/>
            </a:pPr>
            <a:r>
              <a:rPr lang="en-US" sz="2000" dirty="0">
                <a:solidFill>
                  <a:srgbClr val="50E6FF"/>
                </a:solidFill>
                <a:latin typeface="+mj-lt"/>
              </a:rPr>
              <a:t>Initial configuration can become irrelevant between manufacturing and deployment</a:t>
            </a:r>
          </a:p>
          <a:p>
            <a:pPr marL="280121" lvl="2" indent="-280121">
              <a:buFont typeface="Arial" panose="020B0604020202020204" pitchFamily="34" charset="0"/>
              <a:buChar char="•"/>
            </a:pPr>
            <a:r>
              <a:rPr lang="en-US" sz="2000" dirty="0">
                <a:solidFill>
                  <a:srgbClr val="50E6FF"/>
                </a:solidFill>
                <a:latin typeface="+mj-lt"/>
              </a:rPr>
              <a:t>Device supply chains are complex</a:t>
            </a:r>
          </a:p>
          <a:p>
            <a:endParaRPr lang="en-US" sz="3600" dirty="0">
              <a:solidFill>
                <a:srgbClr val="50E6FF"/>
              </a:solidFill>
              <a:latin typeface="+mj-lt"/>
            </a:endParaRPr>
          </a:p>
        </p:txBody>
      </p:sp>
      <p:cxnSp>
        <p:nvCxnSpPr>
          <p:cNvPr id="4" name="Straight Connector 3">
            <a:extLst>
              <a:ext uri="{FF2B5EF4-FFF2-40B4-BE49-F238E27FC236}">
                <a16:creationId xmlns:a16="http://schemas.microsoft.com/office/drawing/2014/main" id="{9A4B70DF-5CED-47E4-80B7-6F0D6DD9A9B0}"/>
              </a:ext>
            </a:extLst>
          </p:cNvPr>
          <p:cNvCxnSpPr>
            <a:cxnSpLocks/>
          </p:cNvCxnSpPr>
          <p:nvPr/>
        </p:nvCxnSpPr>
        <p:spPr>
          <a:xfrm>
            <a:off x="5638800" y="485775"/>
            <a:ext cx="0" cy="5629275"/>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487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B3F5CF39-2B2C-4F43-BE27-D386A7EAC25D}"/>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F57D3628-84D7-4240-945A-E1B574DBA2CC}"/>
              </a:ext>
            </a:extLst>
          </p:cNvPr>
          <p:cNvSpPr>
            <a:spLocks noGrp="1"/>
          </p:cNvSpPr>
          <p:nvPr>
            <p:ph type="title"/>
          </p:nvPr>
        </p:nvSpPr>
        <p:spPr>
          <a:xfrm>
            <a:off x="770381" y="2905004"/>
            <a:ext cx="4098037" cy="1044893"/>
          </a:xfrm>
        </p:spPr>
        <p:txBody>
          <a:bodyPr/>
          <a:lstStyle/>
          <a:p>
            <a:r>
              <a:rPr lang="en-US" sz="3200" dirty="0">
                <a:solidFill>
                  <a:schemeClr val="tx1"/>
                </a:solidFill>
              </a:rPr>
              <a:t>Device Provisioning Service (DPS) brief feature overview</a:t>
            </a:r>
          </a:p>
        </p:txBody>
      </p:sp>
      <p:sp>
        <p:nvSpPr>
          <p:cNvPr id="3" name="Content Placeholder 2">
            <a:extLst>
              <a:ext uri="{FF2B5EF4-FFF2-40B4-BE49-F238E27FC236}">
                <a16:creationId xmlns:a16="http://schemas.microsoft.com/office/drawing/2014/main" id="{1B1E9768-FD4D-49B8-9365-2F99496A0CAA}"/>
              </a:ext>
            </a:extLst>
          </p:cNvPr>
          <p:cNvSpPr>
            <a:spLocks noGrp="1"/>
          </p:cNvSpPr>
          <p:nvPr>
            <p:ph type="body" sz="quarter" idx="10"/>
          </p:nvPr>
        </p:nvSpPr>
        <p:spPr>
          <a:xfrm>
            <a:off x="6096000" y="236696"/>
            <a:ext cx="5524500" cy="2308324"/>
          </a:xfrm>
        </p:spPr>
        <p:txBody>
          <a:bodyPr>
            <a:noAutofit/>
          </a:bodyPr>
          <a:lstStyle/>
          <a:p>
            <a:pPr lvl="2"/>
            <a:r>
              <a:rPr lang="en-US" sz="1400" dirty="0">
                <a:solidFill>
                  <a:srgbClr val="50E6FF"/>
                </a:solidFill>
                <a:latin typeface="+mj-lt"/>
              </a:rPr>
              <a:t>Cross-region, cross-subscription </a:t>
            </a:r>
            <a:r>
              <a:rPr lang="en-US" sz="1400" dirty="0" err="1">
                <a:solidFill>
                  <a:srgbClr val="50E6FF"/>
                </a:solidFill>
                <a:latin typeface="+mj-lt"/>
              </a:rPr>
              <a:t>DPS</a:t>
            </a:r>
            <a:r>
              <a:rPr lang="en-US" sz="1400" dirty="0" err="1">
                <a:solidFill>
                  <a:srgbClr val="50E6FF"/>
                </a:solidFill>
                <a:latin typeface="+mj-lt"/>
                <a:sym typeface="Wingdings" panose="05000000000000000000" pitchFamily="2" charset="2"/>
              </a:rPr>
              <a:t>IoT</a:t>
            </a:r>
            <a:r>
              <a:rPr lang="en-US" sz="1400" dirty="0">
                <a:solidFill>
                  <a:srgbClr val="50E6FF"/>
                </a:solidFill>
                <a:latin typeface="+mj-lt"/>
                <a:sym typeface="Wingdings" panose="05000000000000000000" pitchFamily="2" charset="2"/>
              </a:rPr>
              <a:t> Hub support for geo-</a:t>
            </a:r>
            <a:r>
              <a:rPr lang="en-US" sz="1400" dirty="0" err="1">
                <a:solidFill>
                  <a:srgbClr val="50E6FF"/>
                </a:solidFill>
                <a:latin typeface="+mj-lt"/>
                <a:sym typeface="Wingdings" panose="05000000000000000000" pitchFamily="2" charset="2"/>
              </a:rPr>
              <a:t>sharded</a:t>
            </a:r>
            <a:r>
              <a:rPr lang="en-US" sz="1400" dirty="0">
                <a:solidFill>
                  <a:srgbClr val="50E6FF"/>
                </a:solidFill>
                <a:latin typeface="+mj-lt"/>
                <a:sym typeface="Wingdings" panose="05000000000000000000" pitchFamily="2" charset="2"/>
              </a:rPr>
              <a:t> and multitenancy solutions</a:t>
            </a:r>
            <a:endParaRPr lang="en-US" sz="1400" dirty="0">
              <a:solidFill>
                <a:srgbClr val="50E6FF"/>
              </a:solidFill>
              <a:latin typeface="+mj-lt"/>
            </a:endParaRPr>
          </a:p>
          <a:p>
            <a:pPr lvl="2"/>
            <a:endParaRPr lang="en-US" sz="1400" dirty="0">
              <a:solidFill>
                <a:schemeClr val="tx1"/>
              </a:solidFill>
            </a:endParaRPr>
          </a:p>
          <a:p>
            <a:pPr lvl="2"/>
            <a:r>
              <a:rPr lang="en-US" sz="1400" dirty="0">
                <a:solidFill>
                  <a:srgbClr val="50E6FF"/>
                </a:solidFill>
                <a:latin typeface="+mj-lt"/>
              </a:rPr>
              <a:t>Automatic re-provisioning supports the device lifecycle</a:t>
            </a:r>
          </a:p>
          <a:p>
            <a:pPr lvl="3"/>
            <a:r>
              <a:rPr lang="en-US" dirty="0">
                <a:solidFill>
                  <a:schemeClr val="tx1"/>
                </a:solidFill>
              </a:rPr>
              <a:t>Factory reset</a:t>
            </a:r>
          </a:p>
          <a:p>
            <a:pPr lvl="3"/>
            <a:r>
              <a:rPr lang="en-US" dirty="0">
                <a:solidFill>
                  <a:schemeClr val="tx1"/>
                </a:solidFill>
              </a:rPr>
              <a:t>Migration</a:t>
            </a:r>
          </a:p>
          <a:p>
            <a:pPr lvl="2"/>
            <a:endParaRPr lang="en-US" sz="1400" dirty="0">
              <a:solidFill>
                <a:schemeClr val="tx1"/>
              </a:solidFill>
            </a:endParaRPr>
          </a:p>
          <a:p>
            <a:pPr lvl="2"/>
            <a:r>
              <a:rPr lang="en-US" sz="1400" dirty="0">
                <a:solidFill>
                  <a:srgbClr val="50E6FF"/>
                </a:solidFill>
                <a:latin typeface="+mj-lt"/>
              </a:rPr>
              <a:t>Flexible, targeted device assignment logic</a:t>
            </a:r>
          </a:p>
          <a:p>
            <a:pPr lvl="3"/>
            <a:r>
              <a:rPr lang="en-US" dirty="0">
                <a:solidFill>
                  <a:schemeClr val="tx1"/>
                </a:solidFill>
              </a:rPr>
              <a:t>Static assignment for when you know the hub</a:t>
            </a:r>
          </a:p>
          <a:p>
            <a:pPr lvl="3"/>
            <a:r>
              <a:rPr lang="en-US" dirty="0">
                <a:solidFill>
                  <a:schemeClr val="tx1"/>
                </a:solidFill>
              </a:rPr>
              <a:t>Evenly weighted for round-robin assignment</a:t>
            </a:r>
          </a:p>
          <a:p>
            <a:pPr lvl="3"/>
            <a:r>
              <a:rPr lang="en-US" dirty="0">
                <a:solidFill>
                  <a:schemeClr val="tx1"/>
                </a:solidFill>
              </a:rPr>
              <a:t>Lowest-latency for geo-shared applications</a:t>
            </a:r>
          </a:p>
          <a:p>
            <a:pPr lvl="3"/>
            <a:r>
              <a:rPr lang="en-US" dirty="0">
                <a:solidFill>
                  <a:schemeClr val="tx1"/>
                </a:solidFill>
              </a:rPr>
              <a:t>Custom assignment logic for advanced scenarios</a:t>
            </a:r>
          </a:p>
          <a:p>
            <a:pPr lvl="2"/>
            <a:endParaRPr lang="en-US" sz="1400" dirty="0">
              <a:solidFill>
                <a:schemeClr val="tx1"/>
              </a:solidFill>
            </a:endParaRPr>
          </a:p>
          <a:p>
            <a:pPr lvl="2"/>
            <a:r>
              <a:rPr lang="en-US" sz="1400" dirty="0">
                <a:solidFill>
                  <a:srgbClr val="50E6FF"/>
                </a:solidFill>
                <a:latin typeface="+mj-lt"/>
              </a:rPr>
              <a:t>Manage devices at as a group or as individuals</a:t>
            </a:r>
          </a:p>
          <a:p>
            <a:pPr lvl="3"/>
            <a:r>
              <a:rPr lang="en-US" dirty="0">
                <a:solidFill>
                  <a:schemeClr val="tx1"/>
                </a:solidFill>
              </a:rPr>
              <a:t>Based on authentication type</a:t>
            </a:r>
          </a:p>
          <a:p>
            <a:pPr lvl="2"/>
            <a:endParaRPr lang="en-US" sz="1400" dirty="0">
              <a:solidFill>
                <a:schemeClr val="tx1"/>
              </a:solidFill>
            </a:endParaRPr>
          </a:p>
          <a:p>
            <a:pPr lvl="2"/>
            <a:r>
              <a:rPr lang="en-US" sz="1400" dirty="0">
                <a:solidFill>
                  <a:srgbClr val="50E6FF"/>
                </a:solidFill>
                <a:latin typeface="+mj-lt"/>
              </a:rPr>
              <a:t>Multiple auth methods supported</a:t>
            </a:r>
          </a:p>
          <a:p>
            <a:pPr lvl="3"/>
            <a:r>
              <a:rPr lang="en-US" dirty="0">
                <a:solidFill>
                  <a:schemeClr val="tx1"/>
                </a:solidFill>
              </a:rPr>
              <a:t>Symmetric keys for getting started</a:t>
            </a:r>
          </a:p>
          <a:p>
            <a:pPr lvl="3"/>
            <a:r>
              <a:rPr lang="en-US" dirty="0">
                <a:solidFill>
                  <a:schemeClr val="tx1"/>
                </a:solidFill>
              </a:rPr>
              <a:t>TPM endorsement key for secure storage</a:t>
            </a:r>
          </a:p>
          <a:p>
            <a:pPr lvl="3"/>
            <a:r>
              <a:rPr lang="en-US" dirty="0">
                <a:solidFill>
                  <a:schemeClr val="tx1"/>
                </a:solidFill>
              </a:rPr>
              <a:t>X.509 certificates for maximum security</a:t>
            </a:r>
          </a:p>
          <a:p>
            <a:pPr lvl="2"/>
            <a:endParaRPr lang="en-US" sz="1400" dirty="0">
              <a:solidFill>
                <a:schemeClr val="tx1"/>
              </a:solidFill>
            </a:endParaRPr>
          </a:p>
          <a:p>
            <a:pPr lvl="2"/>
            <a:r>
              <a:rPr lang="en-US" sz="1400" dirty="0">
                <a:solidFill>
                  <a:srgbClr val="50E6FF"/>
                </a:solidFill>
                <a:latin typeface="+mj-lt"/>
              </a:rPr>
              <a:t>Cross-platform support through open-source SDKs</a:t>
            </a:r>
          </a:p>
          <a:p>
            <a:pPr lvl="2"/>
            <a:endParaRPr lang="en-US" sz="1400" dirty="0">
              <a:solidFill>
                <a:schemeClr val="tx1"/>
              </a:solidFill>
            </a:endParaRPr>
          </a:p>
          <a:p>
            <a:pPr lvl="2"/>
            <a:r>
              <a:rPr lang="en-US" sz="1400" dirty="0">
                <a:solidFill>
                  <a:srgbClr val="50E6FF"/>
                </a:solidFill>
                <a:latin typeface="+mj-lt"/>
              </a:rPr>
              <a:t>Edge device support</a:t>
            </a:r>
          </a:p>
        </p:txBody>
      </p:sp>
      <mc:AlternateContent xmlns:mc="http://schemas.openxmlformats.org/markup-compatibility/2006" xmlns:p14="http://schemas.microsoft.com/office/powerpoint/2010/main">
        <mc:Choice Requires="p14">
          <p:contentPart p14:bwMode="auto" r:id="rId3">
            <p14:nvContentPartPr>
              <p14:cNvPr id="5" name="Ink 4">
                <a:extLst>
                  <a:ext uri="{FF2B5EF4-FFF2-40B4-BE49-F238E27FC236}">
                    <a16:creationId xmlns:a16="http://schemas.microsoft.com/office/drawing/2014/main" id="{CBBC1556-0829-496C-9F6C-79420A868B62}"/>
                  </a:ext>
                </a:extLst>
              </p14:cNvPr>
              <p14:cNvContentPartPr/>
              <p14:nvPr/>
            </p14:nvContentPartPr>
            <p14:xfrm>
              <a:off x="1108068" y="5353648"/>
              <a:ext cx="27356" cy="15837"/>
            </p14:xfrm>
          </p:contentPart>
        </mc:Choice>
        <mc:Fallback xmlns="">
          <p:pic>
            <p:nvPicPr>
              <p:cNvPr id="5" name="Ink 4">
                <a:extLst>
                  <a:ext uri="{FF2B5EF4-FFF2-40B4-BE49-F238E27FC236}">
                    <a16:creationId xmlns:a16="http://schemas.microsoft.com/office/drawing/2014/main" id="{CBBC1556-0829-496C-9F6C-79420A868B62}"/>
                  </a:ext>
                </a:extLst>
              </p:cNvPr>
              <p:cNvPicPr/>
              <p:nvPr/>
            </p:nvPicPr>
            <p:blipFill>
              <a:blip r:embed="rId4"/>
              <a:stretch>
                <a:fillRect/>
              </a:stretch>
            </p:blipFill>
            <p:spPr>
              <a:xfrm>
                <a:off x="1098709" y="5344290"/>
                <a:ext cx="45713" cy="34553"/>
              </a:xfrm>
              <a:prstGeom prst="rect">
                <a:avLst/>
              </a:prstGeom>
            </p:spPr>
          </p:pic>
        </mc:Fallback>
      </mc:AlternateContent>
      <p:cxnSp>
        <p:nvCxnSpPr>
          <p:cNvPr id="8" name="Straight Connector 7">
            <a:extLst>
              <a:ext uri="{FF2B5EF4-FFF2-40B4-BE49-F238E27FC236}">
                <a16:creationId xmlns:a16="http://schemas.microsoft.com/office/drawing/2014/main" id="{3479822E-6251-467F-ADE0-73C153EFDB7E}"/>
              </a:ext>
            </a:extLst>
          </p:cNvPr>
          <p:cNvCxnSpPr>
            <a:cxnSpLocks/>
          </p:cNvCxnSpPr>
          <p:nvPr/>
        </p:nvCxnSpPr>
        <p:spPr>
          <a:xfrm>
            <a:off x="5638800" y="485775"/>
            <a:ext cx="0" cy="5629275"/>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F729DA47-EFDB-4E6A-BC69-686BD6EBF3A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59641" y="1171576"/>
            <a:ext cx="1450277" cy="1511617"/>
          </a:xfrm>
          <a:prstGeom prst="rect">
            <a:avLst/>
          </a:prstGeom>
        </p:spPr>
      </p:pic>
    </p:spTree>
    <p:extLst>
      <p:ext uri="{BB962C8B-B14F-4D97-AF65-F5344CB8AC3E}">
        <p14:creationId xmlns:p14="http://schemas.microsoft.com/office/powerpoint/2010/main" val="12420400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election of Scenarios</a:t>
            </a:r>
          </a:p>
        </p:txBody>
      </p:sp>
      <p:sp>
        <p:nvSpPr>
          <p:cNvPr id="17" name="Rectangle 16"/>
          <p:cNvSpPr/>
          <p:nvPr/>
        </p:nvSpPr>
        <p:spPr bwMode="auto">
          <a:xfrm>
            <a:off x="256112" y="1670807"/>
            <a:ext cx="2285559" cy="537759"/>
          </a:xfrm>
          <a:prstGeom prst="rect">
            <a:avLst/>
          </a:prstGeom>
          <a:solidFill>
            <a:srgbClr val="0070C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r>
              <a:rPr lang="en-US" sz="1961">
                <a:gradFill>
                  <a:gsLst>
                    <a:gs pos="0">
                      <a:srgbClr val="FFFFFF"/>
                    </a:gs>
                    <a:gs pos="100000">
                      <a:srgbClr val="FFFFFF"/>
                    </a:gs>
                  </a:gsLst>
                  <a:lin ang="5400000" scaled="0"/>
                </a:gradFill>
                <a:latin typeface="Segoe UI"/>
                <a:ea typeface="Segoe UI" pitchFamily="34" charset="0"/>
                <a:cs typeface="Segoe UI" pitchFamily="34" charset="0"/>
              </a:rPr>
              <a:t>Initial connection</a:t>
            </a:r>
          </a:p>
        </p:txBody>
      </p:sp>
      <p:sp>
        <p:nvSpPr>
          <p:cNvPr id="19" name="Rectangle 18"/>
          <p:cNvSpPr/>
          <p:nvPr/>
        </p:nvSpPr>
        <p:spPr bwMode="auto">
          <a:xfrm>
            <a:off x="2586435" y="1670807"/>
            <a:ext cx="2285559" cy="537759"/>
          </a:xfrm>
          <a:prstGeom prst="rect">
            <a:avLst/>
          </a:prstGeom>
          <a:solidFill>
            <a:srgbClr val="0070C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r>
              <a:rPr lang="en-US" sz="1961">
                <a:gradFill>
                  <a:gsLst>
                    <a:gs pos="0">
                      <a:srgbClr val="FFFFFF"/>
                    </a:gs>
                    <a:gs pos="100000">
                      <a:srgbClr val="FFFFFF"/>
                    </a:gs>
                  </a:gsLst>
                  <a:lin ang="5400000" scaled="0"/>
                </a:gradFill>
                <a:latin typeface="Segoe UI"/>
                <a:cs typeface="Segoe UI" pitchFamily="34" charset="0"/>
              </a:rPr>
              <a:t>Load balancing</a:t>
            </a:r>
          </a:p>
        </p:txBody>
      </p:sp>
      <p:sp>
        <p:nvSpPr>
          <p:cNvPr id="21" name="Rectangle 20"/>
          <p:cNvSpPr/>
          <p:nvPr/>
        </p:nvSpPr>
        <p:spPr bwMode="auto">
          <a:xfrm>
            <a:off x="4916759" y="1670807"/>
            <a:ext cx="2285559" cy="537759"/>
          </a:xfrm>
          <a:prstGeom prst="rect">
            <a:avLst/>
          </a:prstGeom>
          <a:solidFill>
            <a:srgbClr val="0070C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r>
              <a:rPr lang="en-US" sz="1961">
                <a:gradFill>
                  <a:gsLst>
                    <a:gs pos="0">
                      <a:srgbClr val="FFFFFF"/>
                    </a:gs>
                    <a:gs pos="100000">
                      <a:srgbClr val="FFFFFF"/>
                    </a:gs>
                  </a:gsLst>
                  <a:lin ang="5400000" scaled="0"/>
                </a:gradFill>
                <a:latin typeface="Segoe UI"/>
                <a:cs typeface="Segoe UI" pitchFamily="34" charset="0"/>
              </a:rPr>
              <a:t>Ownership based</a:t>
            </a:r>
          </a:p>
        </p:txBody>
      </p:sp>
      <p:sp>
        <p:nvSpPr>
          <p:cNvPr id="23" name="Rectangle 22"/>
          <p:cNvSpPr/>
          <p:nvPr/>
        </p:nvSpPr>
        <p:spPr bwMode="auto">
          <a:xfrm>
            <a:off x="7247335" y="1670807"/>
            <a:ext cx="2285559" cy="537759"/>
          </a:xfrm>
          <a:prstGeom prst="rect">
            <a:avLst/>
          </a:prstGeom>
          <a:solidFill>
            <a:srgbClr val="0070C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r>
              <a:rPr lang="en-US" sz="1961">
                <a:gradFill>
                  <a:gsLst>
                    <a:gs pos="0">
                      <a:srgbClr val="FFFFFF"/>
                    </a:gs>
                    <a:gs pos="100000">
                      <a:srgbClr val="FFFFFF"/>
                    </a:gs>
                  </a:gsLst>
                  <a:lin ang="5400000" scaled="0"/>
                </a:gradFill>
                <a:latin typeface="Segoe UI"/>
                <a:cs typeface="Segoe UI" pitchFamily="34" charset="0"/>
              </a:rPr>
              <a:t>Location based</a:t>
            </a:r>
          </a:p>
        </p:txBody>
      </p:sp>
      <p:sp>
        <p:nvSpPr>
          <p:cNvPr id="25" name="Rectangle 24"/>
          <p:cNvSpPr/>
          <p:nvPr/>
        </p:nvSpPr>
        <p:spPr bwMode="auto">
          <a:xfrm>
            <a:off x="9577659" y="1670806"/>
            <a:ext cx="2330323" cy="537759"/>
          </a:xfrm>
          <a:prstGeom prst="rect">
            <a:avLst/>
          </a:prstGeom>
          <a:solidFill>
            <a:srgbClr val="0070C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r>
              <a:rPr lang="en-US" sz="1961">
                <a:gradFill>
                  <a:gsLst>
                    <a:gs pos="0">
                      <a:srgbClr val="FFFFFF"/>
                    </a:gs>
                    <a:gs pos="100000">
                      <a:srgbClr val="FFFFFF"/>
                    </a:gs>
                  </a:gsLst>
                  <a:lin ang="5400000" scaled="0"/>
                </a:gradFill>
                <a:latin typeface="Segoe UI"/>
                <a:cs typeface="Segoe UI" pitchFamily="34" charset="0"/>
              </a:rPr>
              <a:t>Re-provisioning</a:t>
            </a:r>
          </a:p>
        </p:txBody>
      </p:sp>
      <p:sp>
        <p:nvSpPr>
          <p:cNvPr id="32" name="TextBox 31"/>
          <p:cNvSpPr txBox="1"/>
          <p:nvPr/>
        </p:nvSpPr>
        <p:spPr>
          <a:xfrm>
            <a:off x="256112" y="2208567"/>
            <a:ext cx="2285559" cy="3585190"/>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79259" tIns="143407" rIns="179259" bIns="143407" rtlCol="0" anchor="t"/>
          <a:lstStyle>
            <a:defPPr>
              <a:defRPr lang="en-US"/>
            </a:defPPr>
            <a:lvl1pPr algn="ctr">
              <a:defRPr>
                <a:gradFill>
                  <a:gsLst>
                    <a:gs pos="0">
                      <a:srgbClr val="000000"/>
                    </a:gs>
                    <a:gs pos="100000">
                      <a:srgbClr val="000000"/>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927" fontAlgn="base">
              <a:spcBef>
                <a:spcPct val="0"/>
              </a:spcBef>
              <a:spcAft>
                <a:spcPct val="0"/>
              </a:spcAft>
            </a:pPr>
            <a:r>
              <a:rPr lang="en-US" sz="1765">
                <a:solidFill>
                  <a:schemeClr val="tx1"/>
                </a:solidFill>
                <a:latin typeface="Segoe UI"/>
                <a:ea typeface="Segoe UI" pitchFamily="34" charset="0"/>
                <a:cs typeface="Segoe UI" pitchFamily="34" charset="0"/>
              </a:rPr>
              <a:t>Zero-touch provisioning to a single IoT solution</a:t>
            </a:r>
          </a:p>
        </p:txBody>
      </p:sp>
      <p:sp>
        <p:nvSpPr>
          <p:cNvPr id="33" name="TextBox 32"/>
          <p:cNvSpPr txBox="1"/>
          <p:nvPr/>
        </p:nvSpPr>
        <p:spPr>
          <a:xfrm>
            <a:off x="2586498" y="2208566"/>
            <a:ext cx="2285559" cy="3585190"/>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79259" tIns="143407" rIns="179259" bIns="143407" rtlCol="0" anchor="t"/>
          <a:lstStyle>
            <a:defPPr>
              <a:defRPr lang="en-US"/>
            </a:defPPr>
            <a:lvl1pPr defTabSz="932472" fontAlgn="base">
              <a:spcBef>
                <a:spcPct val="0"/>
              </a:spcBef>
              <a:spcAft>
                <a:spcPct val="0"/>
              </a:spcAft>
              <a:defRPr>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102"/>
            <a:r>
              <a:rPr lang="en-US" sz="1765">
                <a:solidFill>
                  <a:schemeClr val="tx1"/>
                </a:solidFill>
                <a:latin typeface="Segoe UI"/>
              </a:rPr>
              <a:t>Across multiple hubs</a:t>
            </a:r>
          </a:p>
        </p:txBody>
      </p:sp>
      <p:sp>
        <p:nvSpPr>
          <p:cNvPr id="34" name="TextBox 33"/>
          <p:cNvSpPr txBox="1"/>
          <p:nvPr/>
        </p:nvSpPr>
        <p:spPr>
          <a:xfrm>
            <a:off x="4916885" y="2208566"/>
            <a:ext cx="2285559" cy="3585190"/>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79259" tIns="143407" rIns="179259" bIns="143407" rtlCol="0" anchor="t"/>
          <a:lstStyle>
            <a:defPPr>
              <a:defRPr lang="en-US"/>
            </a:defPPr>
            <a:lvl1pPr defTabSz="932472" fontAlgn="base">
              <a:spcBef>
                <a:spcPct val="0"/>
              </a:spcBef>
              <a:spcAft>
                <a:spcPct val="0"/>
              </a:spcAft>
              <a:defRPr>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102"/>
            <a:r>
              <a:rPr lang="en-US" sz="1765">
                <a:solidFill>
                  <a:schemeClr val="tx1"/>
                </a:solidFill>
                <a:latin typeface="Segoe UI"/>
              </a:rPr>
              <a:t>Connecting devices to their owner’s IoT solution based on sales transaction data</a:t>
            </a:r>
          </a:p>
        </p:txBody>
      </p:sp>
      <p:sp>
        <p:nvSpPr>
          <p:cNvPr id="35" name="TextBox 34"/>
          <p:cNvSpPr txBox="1"/>
          <p:nvPr/>
        </p:nvSpPr>
        <p:spPr>
          <a:xfrm>
            <a:off x="7247272" y="2208566"/>
            <a:ext cx="2285559" cy="3585190"/>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79259" tIns="143407" rIns="179259" bIns="143407" rtlCol="0" anchor="t"/>
          <a:lstStyle>
            <a:defPPr>
              <a:defRPr lang="en-US"/>
            </a:defPPr>
            <a:lvl1pPr defTabSz="932472" fontAlgn="base">
              <a:spcBef>
                <a:spcPct val="0"/>
              </a:spcBef>
              <a:spcAft>
                <a:spcPct val="0"/>
              </a:spcAft>
              <a:defRPr>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102"/>
            <a:r>
              <a:rPr lang="en-US" sz="1765">
                <a:solidFill>
                  <a:schemeClr val="tx1"/>
                </a:solidFill>
                <a:latin typeface="Segoe UI"/>
              </a:rPr>
              <a:t>Connecting a device to the IoT hub with the lowest latency</a:t>
            </a:r>
          </a:p>
        </p:txBody>
      </p:sp>
      <p:sp>
        <p:nvSpPr>
          <p:cNvPr id="36" name="TextBox 35"/>
          <p:cNvSpPr txBox="1"/>
          <p:nvPr/>
        </p:nvSpPr>
        <p:spPr>
          <a:xfrm>
            <a:off x="9577659" y="2208566"/>
            <a:ext cx="2330323" cy="3585190"/>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79259" tIns="143407" rIns="179259" bIns="143407" rtlCol="0" anchor="t"/>
          <a:lstStyle>
            <a:defPPr>
              <a:defRPr lang="en-US"/>
            </a:defPPr>
            <a:lvl1pPr defTabSz="932472" fontAlgn="base">
              <a:spcBef>
                <a:spcPct val="0"/>
              </a:spcBef>
              <a:spcAft>
                <a:spcPct val="0"/>
              </a:spcAft>
              <a:defRPr>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102"/>
            <a:r>
              <a:rPr lang="en-US" sz="1765">
                <a:solidFill>
                  <a:schemeClr val="tx1"/>
                </a:solidFill>
                <a:latin typeface="Segoe UI"/>
              </a:rPr>
              <a:t>Based on a change in the device, e.g. change of ownership</a:t>
            </a:r>
          </a:p>
        </p:txBody>
      </p:sp>
      <p:sp>
        <p:nvSpPr>
          <p:cNvPr id="53" name="people_12" descr="Group, partners, collaboration&#10;">
            <a:extLst>
              <a:ext uri="{FF2B5EF4-FFF2-40B4-BE49-F238E27FC236}">
                <a16:creationId xmlns:a16="http://schemas.microsoft.com/office/drawing/2014/main" id="{2561194F-82E9-4F20-8E98-10965929AA22}"/>
              </a:ext>
            </a:extLst>
          </p:cNvPr>
          <p:cNvSpPr>
            <a:spLocks noChangeAspect="1" noEditPoints="1"/>
          </p:cNvSpPr>
          <p:nvPr/>
        </p:nvSpPr>
        <p:spPr bwMode="auto">
          <a:xfrm>
            <a:off x="5534267" y="4445545"/>
            <a:ext cx="1050542" cy="896297"/>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67"/>
            <a:endParaRPr lang="en-US" sz="1765">
              <a:solidFill>
                <a:srgbClr val="3C3C41"/>
              </a:solidFill>
              <a:latin typeface="Segoe UI"/>
            </a:endParaRPr>
          </a:p>
        </p:txBody>
      </p:sp>
      <p:sp>
        <p:nvSpPr>
          <p:cNvPr id="54" name="globe_4" descr="Earth, planet, globe, global&#10;">
            <a:extLst>
              <a:ext uri="{FF2B5EF4-FFF2-40B4-BE49-F238E27FC236}">
                <a16:creationId xmlns:a16="http://schemas.microsoft.com/office/drawing/2014/main" id="{A174E960-3E4F-448E-B873-8CF27F83501A}"/>
              </a:ext>
            </a:extLst>
          </p:cNvPr>
          <p:cNvSpPr>
            <a:spLocks noChangeAspect="1" noEditPoints="1"/>
          </p:cNvSpPr>
          <p:nvPr/>
        </p:nvSpPr>
        <p:spPr bwMode="auto">
          <a:xfrm>
            <a:off x="7943421" y="4445202"/>
            <a:ext cx="893259" cy="896297"/>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a:endParaRPr>
          </a:p>
        </p:txBody>
      </p:sp>
      <p:sp>
        <p:nvSpPr>
          <p:cNvPr id="55" name="IoT_Hub" descr="IoT hub&#10;">
            <a:extLst>
              <a:ext uri="{FF2B5EF4-FFF2-40B4-BE49-F238E27FC236}">
                <a16:creationId xmlns:a16="http://schemas.microsoft.com/office/drawing/2014/main" id="{A863C8E9-E51C-4961-A33C-180A4C4AACB7}"/>
              </a:ext>
            </a:extLst>
          </p:cNvPr>
          <p:cNvSpPr>
            <a:spLocks noChangeAspect="1" noEditPoints="1"/>
          </p:cNvSpPr>
          <p:nvPr/>
        </p:nvSpPr>
        <p:spPr bwMode="auto">
          <a:xfrm>
            <a:off x="950742" y="4449311"/>
            <a:ext cx="896297" cy="896297"/>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254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a:endParaRPr>
          </a:p>
        </p:txBody>
      </p:sp>
      <p:sp>
        <p:nvSpPr>
          <p:cNvPr id="56" name="BarChartVertical_E9EC" descr="Bar chart, bar graph, vertical graph&#10;">
            <a:extLst>
              <a:ext uri="{FF2B5EF4-FFF2-40B4-BE49-F238E27FC236}">
                <a16:creationId xmlns:a16="http://schemas.microsoft.com/office/drawing/2014/main" id="{9048CC1D-DC5D-49D6-B5BF-08F0C8C0031A}"/>
              </a:ext>
            </a:extLst>
          </p:cNvPr>
          <p:cNvSpPr>
            <a:spLocks noChangeAspect="1" noEditPoints="1"/>
          </p:cNvSpPr>
          <p:nvPr/>
        </p:nvSpPr>
        <p:spPr bwMode="auto">
          <a:xfrm>
            <a:off x="3281233" y="4445545"/>
            <a:ext cx="896090" cy="896297"/>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a:endParaRPr>
          </a:p>
        </p:txBody>
      </p:sp>
      <p:sp>
        <p:nvSpPr>
          <p:cNvPr id="57" name="arrow_16" descr="Shuffle, cross path, switch&#10;">
            <a:extLst>
              <a:ext uri="{FF2B5EF4-FFF2-40B4-BE49-F238E27FC236}">
                <a16:creationId xmlns:a16="http://schemas.microsoft.com/office/drawing/2014/main" id="{FE04BFAD-E809-4B27-B0E5-EB2B5F7D8A79}"/>
              </a:ext>
            </a:extLst>
          </p:cNvPr>
          <p:cNvSpPr>
            <a:spLocks noChangeAspect="1" noEditPoints="1"/>
          </p:cNvSpPr>
          <p:nvPr/>
        </p:nvSpPr>
        <p:spPr bwMode="auto">
          <a:xfrm>
            <a:off x="10134792" y="4445202"/>
            <a:ext cx="1216058" cy="8962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25400"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a:endParaRPr>
          </a:p>
        </p:txBody>
      </p:sp>
      <mc:AlternateContent xmlns:mc="http://schemas.openxmlformats.org/markup-compatibility/2006" xmlns:p14="http://schemas.microsoft.com/office/powerpoint/2010/main">
        <mc:Choice Requires="p14">
          <p:contentPart p14:bwMode="auto" r:id="rId3">
            <p14:nvContentPartPr>
              <p14:cNvPr id="112" name="Ink 111">
                <a:extLst>
                  <a:ext uri="{FF2B5EF4-FFF2-40B4-BE49-F238E27FC236}">
                    <a16:creationId xmlns:a16="http://schemas.microsoft.com/office/drawing/2014/main" id="{E6EF151C-E67D-4493-AD17-B834590022FC}"/>
                  </a:ext>
                </a:extLst>
              </p14:cNvPr>
              <p14:cNvContentPartPr/>
              <p14:nvPr/>
            </p14:nvContentPartPr>
            <p14:xfrm>
              <a:off x="11654860" y="810719"/>
              <a:ext cx="9358" cy="5400"/>
            </p14:xfrm>
          </p:contentPart>
        </mc:Choice>
        <mc:Fallback xmlns="">
          <p:pic>
            <p:nvPicPr>
              <p:cNvPr id="112" name="Ink 111">
                <a:extLst>
                  <a:ext uri="{FF2B5EF4-FFF2-40B4-BE49-F238E27FC236}">
                    <a16:creationId xmlns:a16="http://schemas.microsoft.com/office/drawing/2014/main" id="{E6EF151C-E67D-4493-AD17-B834590022FC}"/>
                  </a:ext>
                </a:extLst>
              </p:cNvPr>
              <p:cNvPicPr/>
              <p:nvPr/>
            </p:nvPicPr>
            <p:blipFill>
              <a:blip r:embed="rId4"/>
              <a:stretch>
                <a:fillRect/>
              </a:stretch>
            </p:blipFill>
            <p:spPr>
              <a:xfrm>
                <a:off x="11645862" y="801719"/>
                <a:ext cx="26994" cy="2304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162" name="Ink 161">
                <a:extLst>
                  <a:ext uri="{FF2B5EF4-FFF2-40B4-BE49-F238E27FC236}">
                    <a16:creationId xmlns:a16="http://schemas.microsoft.com/office/drawing/2014/main" id="{D609003A-5BBC-442F-BD9D-CBAA71B81551}"/>
                  </a:ext>
                </a:extLst>
              </p14:cNvPr>
              <p14:cNvContentPartPr/>
              <p14:nvPr/>
            </p14:nvContentPartPr>
            <p14:xfrm>
              <a:off x="5504551" y="4189184"/>
              <a:ext cx="10079" cy="360"/>
            </p14:xfrm>
          </p:contentPart>
        </mc:Choice>
        <mc:Fallback xmlns="">
          <p:pic>
            <p:nvPicPr>
              <p:cNvPr id="162" name="Ink 161">
                <a:extLst>
                  <a:ext uri="{FF2B5EF4-FFF2-40B4-BE49-F238E27FC236}">
                    <a16:creationId xmlns:a16="http://schemas.microsoft.com/office/drawing/2014/main" id="{D609003A-5BBC-442F-BD9D-CBAA71B81551}"/>
                  </a:ext>
                </a:extLst>
              </p:cNvPr>
              <p:cNvPicPr/>
              <p:nvPr/>
            </p:nvPicPr>
            <p:blipFill>
              <a:blip r:embed="rId6"/>
              <a:stretch>
                <a:fillRect/>
              </a:stretch>
            </p:blipFill>
            <p:spPr>
              <a:xfrm>
                <a:off x="5495552" y="4180184"/>
                <a:ext cx="27717"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63" name="Ink 162">
                <a:extLst>
                  <a:ext uri="{FF2B5EF4-FFF2-40B4-BE49-F238E27FC236}">
                    <a16:creationId xmlns:a16="http://schemas.microsoft.com/office/drawing/2014/main" id="{86989AF2-E78B-4F25-A3B6-D8D545D93B38}"/>
                  </a:ext>
                </a:extLst>
              </p14:cNvPr>
              <p14:cNvContentPartPr/>
              <p14:nvPr/>
            </p14:nvContentPartPr>
            <p14:xfrm>
              <a:off x="9737468" y="10785184"/>
              <a:ext cx="7559" cy="18718"/>
            </p14:xfrm>
          </p:contentPart>
        </mc:Choice>
        <mc:Fallback xmlns="">
          <p:pic>
            <p:nvPicPr>
              <p:cNvPr id="163" name="Ink 162">
                <a:extLst>
                  <a:ext uri="{FF2B5EF4-FFF2-40B4-BE49-F238E27FC236}">
                    <a16:creationId xmlns:a16="http://schemas.microsoft.com/office/drawing/2014/main" id="{86989AF2-E78B-4F25-A3B6-D8D545D93B38}"/>
                  </a:ext>
                </a:extLst>
              </p:cNvPr>
              <p:cNvPicPr/>
              <p:nvPr/>
            </p:nvPicPr>
            <p:blipFill>
              <a:blip r:embed="rId8"/>
              <a:stretch>
                <a:fillRect/>
              </a:stretch>
            </p:blipFill>
            <p:spPr>
              <a:xfrm>
                <a:off x="9728019" y="10776355"/>
                <a:ext cx="26079" cy="36023"/>
              </a:xfrm>
              <a:prstGeom prst="rect">
                <a:avLst/>
              </a:prstGeom>
            </p:spPr>
          </p:pic>
        </mc:Fallback>
      </mc:AlternateContent>
    </p:spTree>
    <p:extLst>
      <p:ext uri="{BB962C8B-B14F-4D97-AF65-F5344CB8AC3E}">
        <p14:creationId xmlns:p14="http://schemas.microsoft.com/office/powerpoint/2010/main" val="3730660801"/>
      </p:ext>
    </p:extLst>
  </p:cSld>
  <p:clrMapOvr>
    <a:masterClrMapping/>
  </p:clrMapOvr>
  <p:transition advClick="0" advTm="20000">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6589CBBE-C098-46B8-8571-3B24D7FCC29E}"/>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p:cNvSpPr>
            <a:spLocks noGrp="1"/>
          </p:cNvSpPr>
          <p:nvPr>
            <p:ph type="title"/>
          </p:nvPr>
        </p:nvSpPr>
        <p:spPr/>
        <p:txBody>
          <a:bodyPr vert="horz" wrap="square" lIns="91427" tIns="45713" rIns="91427" bIns="45713" rtlCol="0" anchor="ctr">
            <a:normAutofit fontScale="90000"/>
          </a:bodyPr>
          <a:lstStyle/>
          <a:p>
            <a:r>
              <a:rPr lang="en-US" sz="4000" dirty="0">
                <a:ea typeface="+mj-ea"/>
                <a:cs typeface="+mj-cs"/>
              </a:rPr>
              <a:t>What is Provisioning?</a:t>
            </a:r>
            <a:endParaRPr lang="en-US" kern="1200" dirty="0">
              <a:solidFill>
                <a:schemeClr val="tx1"/>
              </a:solidFill>
              <a:latin typeface="+mj-lt"/>
              <a:ea typeface="+mj-ea"/>
              <a:cs typeface="+mj-cs"/>
            </a:endParaRPr>
          </a:p>
        </p:txBody>
      </p:sp>
      <p:graphicFrame>
        <p:nvGraphicFramePr>
          <p:cNvPr id="15" name="TextBox 4">
            <a:extLst>
              <a:ext uri="{FF2B5EF4-FFF2-40B4-BE49-F238E27FC236}">
                <a16:creationId xmlns:a16="http://schemas.microsoft.com/office/drawing/2014/main" id="{9F6454FE-C01A-4EFD-BBC8-680FEF7891E3}"/>
              </a:ext>
            </a:extLst>
          </p:cNvPr>
          <p:cNvGraphicFramePr/>
          <p:nvPr>
            <p:extLst>
              <p:ext uri="{D42A27DB-BD31-4B8C-83A1-F6EECF244321}">
                <p14:modId xmlns:p14="http://schemas.microsoft.com/office/powerpoint/2010/main" val="3891094537"/>
              </p:ext>
            </p:extLst>
          </p:nvPr>
        </p:nvGraphicFramePr>
        <p:xfrm>
          <a:off x="838946" y="878186"/>
          <a:ext cx="10514108" cy="43507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Google Shape;2206;p17">
            <a:extLst>
              <a:ext uri="{FF2B5EF4-FFF2-40B4-BE49-F238E27FC236}">
                <a16:creationId xmlns:a16="http://schemas.microsoft.com/office/drawing/2014/main" id="{FBD98A96-08FB-49ED-AC41-EDF03C8528A8}"/>
              </a:ext>
            </a:extLst>
          </p:cNvPr>
          <p:cNvPicPr preferRelativeResize="0"/>
          <p:nvPr/>
        </p:nvPicPr>
        <p:blipFill rotWithShape="1">
          <a:blip r:embed="rId8">
            <a:alphaModFix/>
          </a:blip>
          <a:srcRect/>
          <a:stretch/>
        </p:blipFill>
        <p:spPr>
          <a:xfrm>
            <a:off x="1821532" y="5028689"/>
            <a:ext cx="648395" cy="554909"/>
          </a:xfrm>
          <a:prstGeom prst="rect">
            <a:avLst/>
          </a:prstGeom>
          <a:noFill/>
          <a:ln>
            <a:noFill/>
          </a:ln>
        </p:spPr>
      </p:pic>
      <p:sp>
        <p:nvSpPr>
          <p:cNvPr id="3" name="chip" title="Icon of a computer chip">
            <a:extLst>
              <a:ext uri="{FF2B5EF4-FFF2-40B4-BE49-F238E27FC236}">
                <a16:creationId xmlns:a16="http://schemas.microsoft.com/office/drawing/2014/main" id="{4A3C5917-BF2A-4124-8A34-D492BA10BAA5}"/>
              </a:ext>
            </a:extLst>
          </p:cNvPr>
          <p:cNvSpPr>
            <a:spLocks noChangeAspect="1" noEditPoints="1"/>
          </p:cNvSpPr>
          <p:nvPr/>
        </p:nvSpPr>
        <p:spPr bwMode="auto">
          <a:xfrm>
            <a:off x="2718237" y="4881066"/>
            <a:ext cx="833268" cy="850156"/>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a:gradFill>
                <a:gsLst>
                  <a:gs pos="0">
                    <a:srgbClr val="505050"/>
                  </a:gs>
                  <a:gs pos="100000">
                    <a:srgbClr val="505050"/>
                  </a:gs>
                </a:gsLst>
              </a:gradFill>
              <a:latin typeface="Segoe UI"/>
            </a:endParaRPr>
          </a:p>
        </p:txBody>
      </p:sp>
      <p:sp>
        <p:nvSpPr>
          <p:cNvPr id="52" name="Rectangle 51" descr="User">
            <a:extLst>
              <a:ext uri="{FF2B5EF4-FFF2-40B4-BE49-F238E27FC236}">
                <a16:creationId xmlns:a16="http://schemas.microsoft.com/office/drawing/2014/main" id="{13EA4CA1-A69E-49F7-B928-91CA2714B728}"/>
              </a:ext>
            </a:extLst>
          </p:cNvPr>
          <p:cNvSpPr/>
          <p:nvPr/>
        </p:nvSpPr>
        <p:spPr>
          <a:xfrm>
            <a:off x="2269508" y="5731222"/>
            <a:ext cx="717868" cy="717868"/>
          </a:xfrm>
          <a:prstGeom prst="rect">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cxnSp>
        <p:nvCxnSpPr>
          <p:cNvPr id="54" name="Straight Arrow Connector 53">
            <a:extLst>
              <a:ext uri="{FF2B5EF4-FFF2-40B4-BE49-F238E27FC236}">
                <a16:creationId xmlns:a16="http://schemas.microsoft.com/office/drawing/2014/main" id="{D5BC1F0C-4C33-4606-AC43-28C2E45C1842}"/>
              </a:ext>
            </a:extLst>
          </p:cNvPr>
          <p:cNvCxnSpPr/>
          <p:nvPr/>
        </p:nvCxnSpPr>
        <p:spPr>
          <a:xfrm>
            <a:off x="4048125" y="5506361"/>
            <a:ext cx="3362325" cy="0"/>
          </a:xfrm>
          <a:prstGeom prst="straightConnector1">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6" name="Rectangle 55" descr="User">
            <a:extLst>
              <a:ext uri="{FF2B5EF4-FFF2-40B4-BE49-F238E27FC236}">
                <a16:creationId xmlns:a16="http://schemas.microsoft.com/office/drawing/2014/main" id="{130532A2-1ED8-4B67-A4D6-65EB172C3D62}"/>
              </a:ext>
            </a:extLst>
          </p:cNvPr>
          <p:cNvSpPr/>
          <p:nvPr/>
        </p:nvSpPr>
        <p:spPr>
          <a:xfrm>
            <a:off x="8170365" y="5684519"/>
            <a:ext cx="717868" cy="717868"/>
          </a:xfrm>
          <a:prstGeom prst="rect">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58" name="Rectangle 57" descr="User">
            <a:extLst>
              <a:ext uri="{FF2B5EF4-FFF2-40B4-BE49-F238E27FC236}">
                <a16:creationId xmlns:a16="http://schemas.microsoft.com/office/drawing/2014/main" id="{E9577190-C722-4A2F-9AFA-5B39729B85C7}"/>
              </a:ext>
            </a:extLst>
          </p:cNvPr>
          <p:cNvSpPr/>
          <p:nvPr/>
        </p:nvSpPr>
        <p:spPr>
          <a:xfrm>
            <a:off x="8978028" y="5684519"/>
            <a:ext cx="717868" cy="717868"/>
          </a:xfrm>
          <a:prstGeom prst="rect">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60" name="cloud">
            <a:extLst>
              <a:ext uri="{FF2B5EF4-FFF2-40B4-BE49-F238E27FC236}">
                <a16:creationId xmlns:a16="http://schemas.microsoft.com/office/drawing/2014/main" id="{9AB02447-8475-4EB0-A902-641D8B27F3AE}"/>
              </a:ext>
            </a:extLst>
          </p:cNvPr>
          <p:cNvSpPr>
            <a:spLocks noChangeAspect="1"/>
          </p:cNvSpPr>
          <p:nvPr/>
        </p:nvSpPr>
        <p:spPr bwMode="black">
          <a:xfrm>
            <a:off x="8099624" y="4709411"/>
            <a:ext cx="1596272" cy="9234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alpha val="48000"/>
            </a:schemeClr>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26913097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8F4AED65-79A9-4A3D-9B52-4BA60C107F0B}"/>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Provision Challenges</a:t>
            </a:r>
          </a:p>
        </p:txBody>
      </p:sp>
      <mc:AlternateContent xmlns:mc="http://schemas.openxmlformats.org/markup-compatibility/2006" xmlns:p14="http://schemas.microsoft.com/office/powerpoint/2010/main">
        <mc:Choice Requires="p14">
          <p:contentPart p14:bwMode="auto" r:id="rId3">
            <p14:nvContentPartPr>
              <p14:cNvPr id="112" name="Ink 111">
                <a:extLst>
                  <a:ext uri="{FF2B5EF4-FFF2-40B4-BE49-F238E27FC236}">
                    <a16:creationId xmlns:a16="http://schemas.microsoft.com/office/drawing/2014/main" id="{E6EF151C-E67D-4493-AD17-B834590022FC}"/>
                  </a:ext>
                </a:extLst>
              </p14:cNvPr>
              <p14:cNvContentPartPr/>
              <p14:nvPr/>
            </p14:nvContentPartPr>
            <p14:xfrm>
              <a:off x="11697390" y="1469938"/>
              <a:ext cx="9358" cy="5400"/>
            </p14:xfrm>
          </p:contentPart>
        </mc:Choice>
        <mc:Fallback xmlns="">
          <p:pic>
            <p:nvPicPr>
              <p:cNvPr id="112" name="Ink 111">
                <a:extLst>
                  <a:ext uri="{FF2B5EF4-FFF2-40B4-BE49-F238E27FC236}">
                    <a16:creationId xmlns:a16="http://schemas.microsoft.com/office/drawing/2014/main" id="{E6EF151C-E67D-4493-AD17-B834590022FC}"/>
                  </a:ext>
                </a:extLst>
              </p:cNvPr>
              <p:cNvPicPr/>
              <p:nvPr/>
            </p:nvPicPr>
            <p:blipFill>
              <a:blip r:embed="rId4"/>
              <a:stretch>
                <a:fillRect/>
              </a:stretch>
            </p:blipFill>
            <p:spPr>
              <a:xfrm>
                <a:off x="11688392" y="1460938"/>
                <a:ext cx="26994" cy="2304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163" name="Ink 162">
                <a:extLst>
                  <a:ext uri="{FF2B5EF4-FFF2-40B4-BE49-F238E27FC236}">
                    <a16:creationId xmlns:a16="http://schemas.microsoft.com/office/drawing/2014/main" id="{86989AF2-E78B-4F25-A3B6-D8D545D93B38}"/>
                  </a:ext>
                </a:extLst>
              </p14:cNvPr>
              <p14:cNvContentPartPr/>
              <p14:nvPr/>
            </p14:nvContentPartPr>
            <p14:xfrm>
              <a:off x="9737468" y="10785184"/>
              <a:ext cx="7559" cy="18718"/>
            </p14:xfrm>
          </p:contentPart>
        </mc:Choice>
        <mc:Fallback xmlns="">
          <p:pic>
            <p:nvPicPr>
              <p:cNvPr id="163" name="Ink 162">
                <a:extLst>
                  <a:ext uri="{FF2B5EF4-FFF2-40B4-BE49-F238E27FC236}">
                    <a16:creationId xmlns:a16="http://schemas.microsoft.com/office/drawing/2014/main" id="{86989AF2-E78B-4F25-A3B6-D8D545D93B38}"/>
                  </a:ext>
                </a:extLst>
              </p:cNvPr>
              <p:cNvPicPr/>
              <p:nvPr/>
            </p:nvPicPr>
            <p:blipFill>
              <a:blip r:embed="rId6"/>
              <a:stretch>
                <a:fillRect/>
              </a:stretch>
            </p:blipFill>
            <p:spPr>
              <a:xfrm>
                <a:off x="9728019" y="10776355"/>
                <a:ext cx="26079" cy="36023"/>
              </a:xfrm>
              <a:prstGeom prst="rect">
                <a:avLst/>
              </a:prstGeom>
            </p:spPr>
          </p:pic>
        </mc:Fallback>
      </mc:AlternateContent>
      <p:cxnSp>
        <p:nvCxnSpPr>
          <p:cNvPr id="22" name="Straight Arrow Connector 21">
            <a:extLst>
              <a:ext uri="{FF2B5EF4-FFF2-40B4-BE49-F238E27FC236}">
                <a16:creationId xmlns:a16="http://schemas.microsoft.com/office/drawing/2014/main" id="{D014A93C-55BC-4150-9E12-352F21313E3A}"/>
              </a:ext>
            </a:extLst>
          </p:cNvPr>
          <p:cNvCxnSpPr>
            <a:cxnSpLocks/>
          </p:cNvCxnSpPr>
          <p:nvPr/>
        </p:nvCxnSpPr>
        <p:spPr>
          <a:xfrm>
            <a:off x="3340724" y="3621697"/>
            <a:ext cx="4351754" cy="0"/>
          </a:xfrm>
          <a:prstGeom prst="straightConnector1">
            <a:avLst/>
          </a:prstGeom>
          <a:noFill/>
          <a:ln w="6350" cap="flat" cmpd="sng" algn="ctr">
            <a:solidFill>
              <a:srgbClr val="0078D7"/>
            </a:solidFill>
            <a:prstDash val="solid"/>
            <a:miter lim="800000"/>
            <a:headEnd type="triangle"/>
            <a:tailEnd type="triangle"/>
          </a:ln>
          <a:effectLst/>
        </p:spPr>
      </p:cxnSp>
      <p:sp>
        <p:nvSpPr>
          <p:cNvPr id="24" name="TextBox 23">
            <a:extLst>
              <a:ext uri="{FF2B5EF4-FFF2-40B4-BE49-F238E27FC236}">
                <a16:creationId xmlns:a16="http://schemas.microsoft.com/office/drawing/2014/main" id="{DEA9F871-720F-4019-A90C-8F5EBDEC4C3A}"/>
              </a:ext>
            </a:extLst>
          </p:cNvPr>
          <p:cNvSpPr txBox="1"/>
          <p:nvPr/>
        </p:nvSpPr>
        <p:spPr>
          <a:xfrm>
            <a:off x="2042038" y="5667312"/>
            <a:ext cx="1412357" cy="343443"/>
          </a:xfrm>
          <a:prstGeom prst="rect">
            <a:avLst/>
          </a:prstGeom>
        </p:spPr>
        <p:txBody>
          <a:bodyPr wrap="square" rtlCol="0">
            <a:spAutoFit/>
          </a:bodyPr>
          <a:lstStyle/>
          <a:p>
            <a:pPr algn="ctr" defTabSz="914192">
              <a:defRPr/>
            </a:pPr>
            <a:r>
              <a:rPr lang="en-US" sz="1600" dirty="0">
                <a:latin typeface="Segoe UI Semibold"/>
              </a:rPr>
              <a:t>IoT Devices</a:t>
            </a:r>
          </a:p>
        </p:txBody>
      </p:sp>
      <p:sp>
        <p:nvSpPr>
          <p:cNvPr id="26" name="TextBox 25">
            <a:extLst>
              <a:ext uri="{FF2B5EF4-FFF2-40B4-BE49-F238E27FC236}">
                <a16:creationId xmlns:a16="http://schemas.microsoft.com/office/drawing/2014/main" id="{F3801E2D-FEC1-4AE5-B066-1BD6354A596D}"/>
              </a:ext>
            </a:extLst>
          </p:cNvPr>
          <p:cNvSpPr txBox="1"/>
          <p:nvPr/>
        </p:nvSpPr>
        <p:spPr>
          <a:xfrm>
            <a:off x="7446631" y="5665660"/>
            <a:ext cx="2006109" cy="343443"/>
          </a:xfrm>
          <a:prstGeom prst="rect">
            <a:avLst/>
          </a:prstGeom>
        </p:spPr>
        <p:txBody>
          <a:bodyPr wrap="square" rtlCol="0">
            <a:spAutoFit/>
          </a:bodyPr>
          <a:lstStyle/>
          <a:p>
            <a:pPr algn="ctr" defTabSz="914192">
              <a:defRPr/>
            </a:pPr>
            <a:r>
              <a:rPr lang="en-US" sz="1600" dirty="0">
                <a:latin typeface="Segoe UI Semibold"/>
              </a:rPr>
              <a:t>IoT Hub</a:t>
            </a:r>
          </a:p>
        </p:txBody>
      </p:sp>
      <p:sp>
        <p:nvSpPr>
          <p:cNvPr id="27" name="chip" title="Icon of a computer chip">
            <a:extLst>
              <a:ext uri="{FF2B5EF4-FFF2-40B4-BE49-F238E27FC236}">
                <a16:creationId xmlns:a16="http://schemas.microsoft.com/office/drawing/2014/main" id="{31D96FE9-C8DE-468C-8074-AC4C4D3BBE72}"/>
              </a:ext>
            </a:extLst>
          </p:cNvPr>
          <p:cNvSpPr>
            <a:spLocks noChangeAspect="1" noEditPoints="1"/>
          </p:cNvSpPr>
          <p:nvPr/>
        </p:nvSpPr>
        <p:spPr bwMode="auto">
          <a:xfrm>
            <a:off x="2300164" y="2012515"/>
            <a:ext cx="896108" cy="91427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a:gradFill>
                <a:gsLst>
                  <a:gs pos="0">
                    <a:srgbClr val="505050"/>
                  </a:gs>
                  <a:gs pos="100000">
                    <a:srgbClr val="505050"/>
                  </a:gs>
                </a:gsLst>
              </a:gradFill>
              <a:latin typeface="Segoe UI"/>
            </a:endParaRPr>
          </a:p>
        </p:txBody>
      </p:sp>
      <p:pic>
        <p:nvPicPr>
          <p:cNvPr id="8" name="Picture 7" descr="A picture containing clock&#10;&#10;Description automatically generated">
            <a:extLst>
              <a:ext uri="{FF2B5EF4-FFF2-40B4-BE49-F238E27FC236}">
                <a16:creationId xmlns:a16="http://schemas.microsoft.com/office/drawing/2014/main" id="{039F2ADA-5CCB-4A3D-8A9B-1C3FF2B3470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84536" y="3106497"/>
            <a:ext cx="999599" cy="999599"/>
          </a:xfrm>
          <a:prstGeom prst="rect">
            <a:avLst/>
          </a:prstGeom>
        </p:spPr>
      </p:pic>
      <p:sp>
        <p:nvSpPr>
          <p:cNvPr id="13" name="chip" title="Icon of a computer chip">
            <a:extLst>
              <a:ext uri="{FF2B5EF4-FFF2-40B4-BE49-F238E27FC236}">
                <a16:creationId xmlns:a16="http://schemas.microsoft.com/office/drawing/2014/main" id="{9C49A81F-454A-4DBD-AA86-C0761A7456B0}"/>
              </a:ext>
            </a:extLst>
          </p:cNvPr>
          <p:cNvSpPr>
            <a:spLocks noChangeAspect="1" noEditPoints="1"/>
          </p:cNvSpPr>
          <p:nvPr/>
        </p:nvSpPr>
        <p:spPr bwMode="auto">
          <a:xfrm>
            <a:off x="2300164" y="3191830"/>
            <a:ext cx="896108" cy="91427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a:gradFill>
                <a:gsLst>
                  <a:gs pos="0">
                    <a:srgbClr val="505050"/>
                  </a:gs>
                  <a:gs pos="100000">
                    <a:srgbClr val="505050"/>
                  </a:gs>
                </a:gsLst>
              </a:gradFill>
              <a:latin typeface="Segoe UI"/>
            </a:endParaRPr>
          </a:p>
        </p:txBody>
      </p:sp>
      <p:sp>
        <p:nvSpPr>
          <p:cNvPr id="14" name="chip" title="Icon of a computer chip">
            <a:extLst>
              <a:ext uri="{FF2B5EF4-FFF2-40B4-BE49-F238E27FC236}">
                <a16:creationId xmlns:a16="http://schemas.microsoft.com/office/drawing/2014/main" id="{69A920F5-A77E-474D-9CF0-42B1DFC18EB4}"/>
              </a:ext>
            </a:extLst>
          </p:cNvPr>
          <p:cNvSpPr>
            <a:spLocks noChangeAspect="1" noEditPoints="1"/>
          </p:cNvSpPr>
          <p:nvPr/>
        </p:nvSpPr>
        <p:spPr bwMode="auto">
          <a:xfrm>
            <a:off x="2300163" y="4371146"/>
            <a:ext cx="896108" cy="91427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a:gradFill>
                <a:gsLst>
                  <a:gs pos="0">
                    <a:srgbClr val="505050"/>
                  </a:gs>
                  <a:gs pos="100000">
                    <a:srgbClr val="505050"/>
                  </a:gs>
                </a:gsLst>
              </a:gradFill>
              <a:latin typeface="Segoe UI"/>
            </a:endParaRPr>
          </a:p>
        </p:txBody>
      </p:sp>
      <p:pic>
        <p:nvPicPr>
          <p:cNvPr id="15" name="Picture 14" descr="A picture containing clock&#10;&#10;Description automatically generated">
            <a:extLst>
              <a:ext uri="{FF2B5EF4-FFF2-40B4-BE49-F238E27FC236}">
                <a16:creationId xmlns:a16="http://schemas.microsoft.com/office/drawing/2014/main" id="{C0952D9B-C8F2-4FDF-9BDD-2572411978E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09578" y="4307069"/>
            <a:ext cx="974557" cy="974557"/>
          </a:xfrm>
          <a:prstGeom prst="rect">
            <a:avLst/>
          </a:prstGeom>
        </p:spPr>
      </p:pic>
      <p:pic>
        <p:nvPicPr>
          <p:cNvPr id="16" name="Picture 15" descr="A picture containing clock&#10;&#10;Description automatically generated">
            <a:extLst>
              <a:ext uri="{FF2B5EF4-FFF2-40B4-BE49-F238E27FC236}">
                <a16:creationId xmlns:a16="http://schemas.microsoft.com/office/drawing/2014/main" id="{7DCFCBFC-F046-41D3-9F25-D3FF8C0FED8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09578" y="1935886"/>
            <a:ext cx="986154" cy="986154"/>
          </a:xfrm>
          <a:prstGeom prst="rect">
            <a:avLst/>
          </a:prstGeom>
        </p:spPr>
      </p:pic>
      <p:cxnSp>
        <p:nvCxnSpPr>
          <p:cNvPr id="17" name="Straight Arrow Connector 16">
            <a:extLst>
              <a:ext uri="{FF2B5EF4-FFF2-40B4-BE49-F238E27FC236}">
                <a16:creationId xmlns:a16="http://schemas.microsoft.com/office/drawing/2014/main" id="{7466D29C-2DCF-45C5-803D-B0D5F5BD5F18}"/>
              </a:ext>
            </a:extLst>
          </p:cNvPr>
          <p:cNvCxnSpPr>
            <a:cxnSpLocks/>
          </p:cNvCxnSpPr>
          <p:nvPr/>
        </p:nvCxnSpPr>
        <p:spPr>
          <a:xfrm>
            <a:off x="3340724" y="2445336"/>
            <a:ext cx="4351754" cy="983664"/>
          </a:xfrm>
          <a:prstGeom prst="straightConnector1">
            <a:avLst/>
          </a:prstGeom>
          <a:noFill/>
          <a:ln w="6350" cap="flat" cmpd="sng" algn="ctr">
            <a:solidFill>
              <a:srgbClr val="0078D7"/>
            </a:solidFill>
            <a:prstDash val="solid"/>
            <a:miter lim="800000"/>
            <a:headEnd type="triangle"/>
            <a:tailEnd type="triangle"/>
          </a:ln>
          <a:effectLst/>
        </p:spPr>
      </p:cxnSp>
      <p:cxnSp>
        <p:nvCxnSpPr>
          <p:cNvPr id="19" name="Straight Arrow Connector 18">
            <a:extLst>
              <a:ext uri="{FF2B5EF4-FFF2-40B4-BE49-F238E27FC236}">
                <a16:creationId xmlns:a16="http://schemas.microsoft.com/office/drawing/2014/main" id="{20CFB7AA-636F-42E1-8BE8-3699243CD945}"/>
              </a:ext>
            </a:extLst>
          </p:cNvPr>
          <p:cNvCxnSpPr>
            <a:cxnSpLocks/>
          </p:cNvCxnSpPr>
          <p:nvPr/>
        </p:nvCxnSpPr>
        <p:spPr>
          <a:xfrm>
            <a:off x="3340724" y="4828281"/>
            <a:ext cx="4351754" cy="0"/>
          </a:xfrm>
          <a:prstGeom prst="straightConnector1">
            <a:avLst/>
          </a:prstGeom>
          <a:noFill/>
          <a:ln w="6350" cap="flat" cmpd="sng" algn="ctr">
            <a:solidFill>
              <a:srgbClr val="0078D7"/>
            </a:solidFill>
            <a:prstDash val="solid"/>
            <a:miter lim="800000"/>
            <a:headEnd type="triangle"/>
            <a:tailEnd type="triangle"/>
          </a:ln>
          <a:effectLst/>
        </p:spPr>
      </p:cxnSp>
      <p:cxnSp>
        <p:nvCxnSpPr>
          <p:cNvPr id="25" name="Straight Arrow Connector 24">
            <a:extLst>
              <a:ext uri="{FF2B5EF4-FFF2-40B4-BE49-F238E27FC236}">
                <a16:creationId xmlns:a16="http://schemas.microsoft.com/office/drawing/2014/main" id="{D28F84CB-752B-40A3-ABD5-2BFE788487D5}"/>
              </a:ext>
            </a:extLst>
          </p:cNvPr>
          <p:cNvCxnSpPr>
            <a:cxnSpLocks/>
          </p:cNvCxnSpPr>
          <p:nvPr/>
        </p:nvCxnSpPr>
        <p:spPr>
          <a:xfrm>
            <a:off x="3340724" y="2365387"/>
            <a:ext cx="4351754" cy="0"/>
          </a:xfrm>
          <a:prstGeom prst="straightConnector1">
            <a:avLst/>
          </a:prstGeom>
          <a:noFill/>
          <a:ln w="6350" cap="flat" cmpd="sng" algn="ctr">
            <a:solidFill>
              <a:srgbClr val="0078D7"/>
            </a:solidFill>
            <a:prstDash val="solid"/>
            <a:miter lim="800000"/>
            <a:headEnd type="triangle"/>
            <a:tailEnd type="triangle"/>
          </a:ln>
          <a:effectLst/>
        </p:spPr>
      </p:cxnSp>
      <p:sp>
        <p:nvSpPr>
          <p:cNvPr id="28" name="Rectangle 27">
            <a:extLst>
              <a:ext uri="{FF2B5EF4-FFF2-40B4-BE49-F238E27FC236}">
                <a16:creationId xmlns:a16="http://schemas.microsoft.com/office/drawing/2014/main" id="{4ECF1427-C954-4E77-A7BD-5F12D624C345}"/>
              </a:ext>
            </a:extLst>
          </p:cNvPr>
          <p:cNvSpPr/>
          <p:nvPr/>
        </p:nvSpPr>
        <p:spPr>
          <a:xfrm>
            <a:off x="5225260" y="3206365"/>
            <a:ext cx="2221371" cy="397095"/>
          </a:xfrm>
          <a:prstGeom prst="rect">
            <a:avLst/>
          </a:prstGeom>
          <a:noFill/>
          <a:ln>
            <a:solidFill>
              <a:srgbClr val="00B050"/>
            </a:solidFill>
          </a:ln>
        </p:spPr>
        <p:style>
          <a:lnRef idx="2">
            <a:schemeClr val="accent1"/>
          </a:lnRef>
          <a:fillRef idx="1">
            <a:schemeClr val="lt1"/>
          </a:fillRef>
          <a:effectRef idx="0">
            <a:schemeClr val="accent1"/>
          </a:effectRef>
          <a:fontRef idx="minor">
            <a:schemeClr val="dk1"/>
          </a:fontRef>
        </p:style>
        <p:txBody>
          <a:bodyPr rtlCol="0" anchor="t"/>
          <a:lstStyle/>
          <a:p>
            <a:pPr defTabSz="914192"/>
            <a:r>
              <a:rPr lang="en-US" sz="1765" dirty="0">
                <a:solidFill>
                  <a:schemeClr val="tx1"/>
                </a:solidFill>
                <a:latin typeface="Segoe UI"/>
              </a:rPr>
              <a:t>Connection String 1 </a:t>
            </a:r>
          </a:p>
        </p:txBody>
      </p:sp>
      <p:sp>
        <p:nvSpPr>
          <p:cNvPr id="36" name="Rectangle 35">
            <a:extLst>
              <a:ext uri="{FF2B5EF4-FFF2-40B4-BE49-F238E27FC236}">
                <a16:creationId xmlns:a16="http://schemas.microsoft.com/office/drawing/2014/main" id="{B6E770A2-7157-4D18-8F3F-2676E3E3C72E}"/>
              </a:ext>
            </a:extLst>
          </p:cNvPr>
          <p:cNvSpPr/>
          <p:nvPr/>
        </p:nvSpPr>
        <p:spPr>
          <a:xfrm>
            <a:off x="5257919" y="4397251"/>
            <a:ext cx="2221371" cy="397095"/>
          </a:xfrm>
          <a:prstGeom prst="rect">
            <a:avLst/>
          </a:prstGeom>
          <a:noFill/>
          <a:ln>
            <a:solidFill>
              <a:srgbClr val="00B050"/>
            </a:solidFill>
          </a:ln>
        </p:spPr>
        <p:style>
          <a:lnRef idx="2">
            <a:schemeClr val="accent1"/>
          </a:lnRef>
          <a:fillRef idx="1">
            <a:schemeClr val="lt1"/>
          </a:fillRef>
          <a:effectRef idx="0">
            <a:schemeClr val="accent1"/>
          </a:effectRef>
          <a:fontRef idx="minor">
            <a:schemeClr val="dk1"/>
          </a:fontRef>
        </p:style>
        <p:txBody>
          <a:bodyPr rtlCol="0" anchor="t"/>
          <a:lstStyle/>
          <a:p>
            <a:pPr defTabSz="914192"/>
            <a:r>
              <a:rPr lang="en-US" sz="1765" dirty="0">
                <a:solidFill>
                  <a:schemeClr val="tx1"/>
                </a:solidFill>
                <a:latin typeface="Segoe UI"/>
              </a:rPr>
              <a:t>Connection String 2 </a:t>
            </a:r>
          </a:p>
        </p:txBody>
      </p:sp>
      <p:sp>
        <p:nvSpPr>
          <p:cNvPr id="37" name="Rectangle 36">
            <a:extLst>
              <a:ext uri="{FF2B5EF4-FFF2-40B4-BE49-F238E27FC236}">
                <a16:creationId xmlns:a16="http://schemas.microsoft.com/office/drawing/2014/main" id="{0267810F-1E9E-4B42-BA06-6782AAE8A118}"/>
              </a:ext>
            </a:extLst>
          </p:cNvPr>
          <p:cNvSpPr/>
          <p:nvPr/>
        </p:nvSpPr>
        <p:spPr>
          <a:xfrm>
            <a:off x="5257919" y="1951325"/>
            <a:ext cx="2221371" cy="397095"/>
          </a:xfrm>
          <a:prstGeom prst="rect">
            <a:avLst/>
          </a:prstGeom>
          <a:noFill/>
          <a:ln>
            <a:solidFill>
              <a:srgbClr val="00B050"/>
            </a:solidFill>
          </a:ln>
        </p:spPr>
        <p:style>
          <a:lnRef idx="2">
            <a:schemeClr val="accent1"/>
          </a:lnRef>
          <a:fillRef idx="1">
            <a:schemeClr val="lt1"/>
          </a:fillRef>
          <a:effectRef idx="0">
            <a:schemeClr val="accent1"/>
          </a:effectRef>
          <a:fontRef idx="minor">
            <a:schemeClr val="dk1"/>
          </a:fontRef>
        </p:style>
        <p:txBody>
          <a:bodyPr rtlCol="0" anchor="t"/>
          <a:lstStyle/>
          <a:p>
            <a:pPr defTabSz="914192"/>
            <a:r>
              <a:rPr lang="en-US" sz="1765" dirty="0">
                <a:solidFill>
                  <a:schemeClr val="tx1"/>
                </a:solidFill>
                <a:latin typeface="Segoe UI"/>
              </a:rPr>
              <a:t>Connection String 3 </a:t>
            </a:r>
          </a:p>
        </p:txBody>
      </p:sp>
    </p:spTree>
    <p:extLst>
      <p:ext uri="{BB962C8B-B14F-4D97-AF65-F5344CB8AC3E}">
        <p14:creationId xmlns:p14="http://schemas.microsoft.com/office/powerpoint/2010/main" val="2952479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xit" presetSubtype="0" fill="hold" nodeType="withEffect">
                                  <p:stCondLst>
                                    <p:cond delay="0"/>
                                  </p:stCondLst>
                                  <p:childTnLst>
                                    <p:set>
                                      <p:cBhvr>
                                        <p:cTn id="26" dur="1" fill="hold">
                                          <p:stCondLst>
                                            <p:cond delay="0"/>
                                          </p:stCondLst>
                                        </p:cTn>
                                        <p:tgtEl>
                                          <p:spTgt spid="17"/>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8" grpId="0" animBg="1"/>
      <p:bldP spid="36" grpId="0" animBg="1"/>
      <p:bldP spid="3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1DB52F6D-CC21-466D-928E-6305D381B253}"/>
              </a:ext>
            </a:extLst>
          </p:cNvPr>
          <p:cNvSpPr/>
          <p:nvPr/>
        </p:nvSpPr>
        <p:spPr bwMode="auto">
          <a:xfrm>
            <a:off x="-1" y="0"/>
            <a:ext cx="12436476" cy="6858000"/>
          </a:xfrm>
          <a:prstGeom prst="ellipse">
            <a:avLst/>
          </a:prstGeom>
          <a:gradFill flip="none" rotWithShape="1">
            <a:gsLst>
              <a:gs pos="0">
                <a:srgbClr val="0078D3">
                  <a:lumMod val="50000"/>
                  <a:alpha val="44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69837CA1-544A-4B5D-9725-5FCDAF82FB80}"/>
              </a:ext>
            </a:extLst>
          </p:cNvPr>
          <p:cNvGrpSpPr/>
          <p:nvPr/>
        </p:nvGrpSpPr>
        <p:grpSpPr>
          <a:xfrm>
            <a:off x="3302019" y="3666901"/>
            <a:ext cx="326931" cy="338042"/>
            <a:chOff x="1308100" y="3205163"/>
            <a:chExt cx="327025" cy="338138"/>
          </a:xfrm>
        </p:grpSpPr>
        <p:sp>
          <p:nvSpPr>
            <p:cNvPr id="21" name="Freeform 123">
              <a:extLst>
                <a:ext uri="{FF2B5EF4-FFF2-40B4-BE49-F238E27FC236}">
                  <a16:creationId xmlns:a16="http://schemas.microsoft.com/office/drawing/2014/main" id="{66BBE908-5CCD-4D8C-8306-C9AB844827A8}"/>
                </a:ext>
              </a:extLst>
            </p:cNvPr>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defTabSz="914192"/>
              <a:endParaRPr lang="en-US" sz="1765">
                <a:solidFill>
                  <a:prstClr val="black"/>
                </a:solidFill>
                <a:latin typeface="Segoe UI"/>
              </a:endParaRPr>
            </a:p>
          </p:txBody>
        </p:sp>
        <p:sp>
          <p:nvSpPr>
            <p:cNvPr id="22" name="Freeform 124">
              <a:extLst>
                <a:ext uri="{FF2B5EF4-FFF2-40B4-BE49-F238E27FC236}">
                  <a16:creationId xmlns:a16="http://schemas.microsoft.com/office/drawing/2014/main" id="{C63B6876-3F2A-41AA-9EB4-652A770CADE4}"/>
                </a:ext>
              </a:extLst>
            </p:cNvPr>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defTabSz="914192"/>
              <a:endParaRPr lang="en-US" sz="1765">
                <a:solidFill>
                  <a:prstClr val="black"/>
                </a:solidFill>
                <a:latin typeface="Segoe UI"/>
              </a:endParaRPr>
            </a:p>
          </p:txBody>
        </p:sp>
        <p:sp>
          <p:nvSpPr>
            <p:cNvPr id="23" name="Freeform 125">
              <a:extLst>
                <a:ext uri="{FF2B5EF4-FFF2-40B4-BE49-F238E27FC236}">
                  <a16:creationId xmlns:a16="http://schemas.microsoft.com/office/drawing/2014/main" id="{F8B41589-DACD-4DBC-B8D0-0B92BFBBCD56}"/>
                </a:ext>
              </a:extLst>
            </p:cNvPr>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defTabSz="914192"/>
              <a:endParaRPr lang="en-US" sz="1765">
                <a:solidFill>
                  <a:prstClr val="black"/>
                </a:solidFill>
                <a:latin typeface="Segoe UI"/>
              </a:endParaRPr>
            </a:p>
          </p:txBody>
        </p:sp>
      </p:grpSp>
      <p:sp>
        <p:nvSpPr>
          <p:cNvPr id="3" name="Title 2">
            <a:extLst>
              <a:ext uri="{FF2B5EF4-FFF2-40B4-BE49-F238E27FC236}">
                <a16:creationId xmlns:a16="http://schemas.microsoft.com/office/drawing/2014/main" id="{1E3AFC93-C32D-4F10-AFF8-18B2D79181A1}"/>
              </a:ext>
            </a:extLst>
          </p:cNvPr>
          <p:cNvSpPr>
            <a:spLocks noGrp="1"/>
          </p:cNvSpPr>
          <p:nvPr>
            <p:ph type="title"/>
          </p:nvPr>
        </p:nvSpPr>
        <p:spPr/>
        <p:txBody>
          <a:bodyPr>
            <a:normAutofit fontScale="90000"/>
          </a:bodyPr>
          <a:lstStyle/>
          <a:p>
            <a:r>
              <a:rPr lang="en-US" sz="4000"/>
              <a:t>IoT Hub Device Provisioning Service</a:t>
            </a:r>
          </a:p>
        </p:txBody>
      </p:sp>
      <p:sp>
        <p:nvSpPr>
          <p:cNvPr id="26" name="Text Placeholder 2">
            <a:extLst>
              <a:ext uri="{FF2B5EF4-FFF2-40B4-BE49-F238E27FC236}">
                <a16:creationId xmlns:a16="http://schemas.microsoft.com/office/drawing/2014/main" id="{2A6A4736-5AED-425D-A19B-1F608C958425}"/>
              </a:ext>
            </a:extLst>
          </p:cNvPr>
          <p:cNvSpPr txBox="1">
            <a:spLocks/>
          </p:cNvSpPr>
          <p:nvPr/>
        </p:nvSpPr>
        <p:spPr>
          <a:xfrm>
            <a:off x="478839" y="1176780"/>
            <a:ext cx="6557965" cy="693110"/>
          </a:xfrm>
          <a:prstGeom prst="rect">
            <a:avLst/>
          </a:prstGeom>
        </p:spPr>
        <p:txBody>
          <a:bodyPr vert="horz" lIns="91427" tIns="45713" rIns="91427" bIns="45713"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12"/>
            <a:endParaRPr lang="en-US" sz="1800">
              <a:solidFill>
                <a:schemeClr val="tx1"/>
              </a:solidFill>
              <a:latin typeface="Segoe UI" panose="020B0502040204020203" pitchFamily="34" charset="0"/>
              <a:cs typeface="Segoe UI" panose="020B0502040204020203" pitchFamily="34" charset="0"/>
            </a:endParaRPr>
          </a:p>
        </p:txBody>
      </p:sp>
      <p:sp>
        <p:nvSpPr>
          <p:cNvPr id="29" name="Title 2">
            <a:extLst>
              <a:ext uri="{FF2B5EF4-FFF2-40B4-BE49-F238E27FC236}">
                <a16:creationId xmlns:a16="http://schemas.microsoft.com/office/drawing/2014/main" id="{474442FC-C345-46FB-8E48-4C6DD29FB5AE}"/>
              </a:ext>
            </a:extLst>
          </p:cNvPr>
          <p:cNvSpPr txBox="1">
            <a:spLocks/>
          </p:cNvSpPr>
          <p:nvPr/>
        </p:nvSpPr>
        <p:spPr>
          <a:xfrm>
            <a:off x="510795" y="730843"/>
            <a:ext cx="10514108" cy="1325375"/>
          </a:xfrm>
          <a:prstGeom prst="rect">
            <a:avLst/>
          </a:prstGeom>
        </p:spPr>
        <p:txBody>
          <a:bodyPr vert="horz" lIns="91427" tIns="45713" rIns="91427" bIns="45713"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225"/>
            <a:r>
              <a:rPr lang="en-US" sz="2000" dirty="0">
                <a:latin typeface="Segoe UI" panose="020B0502040204020203" pitchFamily="34" charset="0"/>
                <a:cs typeface="Segoe UI" panose="020B0502040204020203" pitchFamily="34" charset="0"/>
              </a:rPr>
              <a:t>A helper service for IoT Hub that enables zero-touch, just-in-time provisioning to the right IoT hub without requiring human intervention.</a:t>
            </a:r>
          </a:p>
        </p:txBody>
      </p:sp>
      <p:sp>
        <p:nvSpPr>
          <p:cNvPr id="31" name="TextBox 30">
            <a:extLst>
              <a:ext uri="{FF2B5EF4-FFF2-40B4-BE49-F238E27FC236}">
                <a16:creationId xmlns:a16="http://schemas.microsoft.com/office/drawing/2014/main" id="{0205AD3B-0AE8-4DC0-9181-32EE997B240F}"/>
              </a:ext>
            </a:extLst>
          </p:cNvPr>
          <p:cNvSpPr txBox="1"/>
          <p:nvPr/>
        </p:nvSpPr>
        <p:spPr>
          <a:xfrm>
            <a:off x="2749327" y="4042014"/>
            <a:ext cx="1412357" cy="343443"/>
          </a:xfrm>
          <a:prstGeom prst="rect">
            <a:avLst/>
          </a:prstGeom>
        </p:spPr>
        <p:txBody>
          <a:bodyPr wrap="square" rtlCol="0">
            <a:spAutoFit/>
          </a:bodyPr>
          <a:lstStyle/>
          <a:p>
            <a:pPr algn="ctr" defTabSz="914192">
              <a:defRPr/>
            </a:pPr>
            <a:r>
              <a:rPr lang="en-US" sz="1600" dirty="0">
                <a:latin typeface="Segoe UI Semibold"/>
              </a:rPr>
              <a:t>IoT Devices</a:t>
            </a:r>
          </a:p>
        </p:txBody>
      </p:sp>
      <p:sp>
        <p:nvSpPr>
          <p:cNvPr id="33" name="chip" title="Icon of a computer chip">
            <a:extLst>
              <a:ext uri="{FF2B5EF4-FFF2-40B4-BE49-F238E27FC236}">
                <a16:creationId xmlns:a16="http://schemas.microsoft.com/office/drawing/2014/main" id="{92BB6794-9527-4E73-BBE3-ADE0E1B878EA}"/>
              </a:ext>
            </a:extLst>
          </p:cNvPr>
          <p:cNvSpPr>
            <a:spLocks noChangeAspect="1" noEditPoints="1"/>
          </p:cNvSpPr>
          <p:nvPr/>
        </p:nvSpPr>
        <p:spPr bwMode="auto">
          <a:xfrm>
            <a:off x="3007453" y="3066689"/>
            <a:ext cx="836025" cy="85297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a:gradFill>
                <a:gsLst>
                  <a:gs pos="0">
                    <a:srgbClr val="505050"/>
                  </a:gs>
                  <a:gs pos="100000">
                    <a:srgbClr val="505050"/>
                  </a:gs>
                </a:gsLst>
              </a:gradFill>
              <a:latin typeface="Segoe UI"/>
            </a:endParaRPr>
          </a:p>
        </p:txBody>
      </p:sp>
      <p:sp>
        <p:nvSpPr>
          <p:cNvPr id="34" name="TextBox 33">
            <a:extLst>
              <a:ext uri="{FF2B5EF4-FFF2-40B4-BE49-F238E27FC236}">
                <a16:creationId xmlns:a16="http://schemas.microsoft.com/office/drawing/2014/main" id="{C164D5C3-CA19-46CD-8C6B-00802E63FCDD}"/>
              </a:ext>
            </a:extLst>
          </p:cNvPr>
          <p:cNvSpPr txBox="1"/>
          <p:nvPr/>
        </p:nvSpPr>
        <p:spPr>
          <a:xfrm>
            <a:off x="7590990" y="3995910"/>
            <a:ext cx="2006109" cy="343443"/>
          </a:xfrm>
          <a:prstGeom prst="rect">
            <a:avLst/>
          </a:prstGeom>
        </p:spPr>
        <p:txBody>
          <a:bodyPr wrap="square" rtlCol="0">
            <a:spAutoFit/>
          </a:bodyPr>
          <a:lstStyle/>
          <a:p>
            <a:pPr algn="ctr" defTabSz="914192">
              <a:defRPr/>
            </a:pPr>
            <a:r>
              <a:rPr lang="en-US" sz="1600" dirty="0">
                <a:latin typeface="Segoe UI Semibold"/>
              </a:rPr>
              <a:t>IoT Hub</a:t>
            </a:r>
          </a:p>
        </p:txBody>
      </p:sp>
      <p:pic>
        <p:nvPicPr>
          <p:cNvPr id="35" name="Picture 34" descr="A picture containing clock&#10;&#10;Description automatically generated">
            <a:extLst>
              <a:ext uri="{FF2B5EF4-FFF2-40B4-BE49-F238E27FC236}">
                <a16:creationId xmlns:a16="http://schemas.microsoft.com/office/drawing/2014/main" id="{74496F2E-EE08-4AD7-84EA-F7079EF7570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03955" y="3106497"/>
            <a:ext cx="780180" cy="780180"/>
          </a:xfrm>
          <a:prstGeom prst="rect">
            <a:avLst/>
          </a:prstGeom>
        </p:spPr>
      </p:pic>
      <p:pic>
        <p:nvPicPr>
          <p:cNvPr id="24" name="Graphic 23">
            <a:extLst>
              <a:ext uri="{FF2B5EF4-FFF2-40B4-BE49-F238E27FC236}">
                <a16:creationId xmlns:a16="http://schemas.microsoft.com/office/drawing/2014/main" id="{6D282410-8D07-4836-BD43-D2C024551C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69274" y="3081541"/>
            <a:ext cx="780180" cy="813178"/>
          </a:xfrm>
          <a:prstGeom prst="rect">
            <a:avLst/>
          </a:prstGeom>
        </p:spPr>
      </p:pic>
      <p:sp>
        <p:nvSpPr>
          <p:cNvPr id="36" name="TextBox 35">
            <a:extLst>
              <a:ext uri="{FF2B5EF4-FFF2-40B4-BE49-F238E27FC236}">
                <a16:creationId xmlns:a16="http://schemas.microsoft.com/office/drawing/2014/main" id="{BD3956DC-9590-4A1C-BA1B-002E5208E799}"/>
              </a:ext>
            </a:extLst>
          </p:cNvPr>
          <p:cNvSpPr txBox="1"/>
          <p:nvPr/>
        </p:nvSpPr>
        <p:spPr>
          <a:xfrm>
            <a:off x="5033607" y="4042015"/>
            <a:ext cx="2006109" cy="830997"/>
          </a:xfrm>
          <a:prstGeom prst="rect">
            <a:avLst/>
          </a:prstGeom>
        </p:spPr>
        <p:txBody>
          <a:bodyPr wrap="square" rtlCol="0">
            <a:spAutoFit/>
          </a:bodyPr>
          <a:lstStyle/>
          <a:p>
            <a:pPr algn="ctr" defTabSz="914192">
              <a:defRPr/>
            </a:pPr>
            <a:r>
              <a:rPr lang="en-US" sz="1600" dirty="0">
                <a:latin typeface="Segoe UI Semibold"/>
              </a:rPr>
              <a:t>IoT Hub Device Provisioning Service</a:t>
            </a:r>
          </a:p>
        </p:txBody>
      </p:sp>
      <p:cxnSp>
        <p:nvCxnSpPr>
          <p:cNvPr id="38" name="Straight Arrow Connector 37">
            <a:extLst>
              <a:ext uri="{FF2B5EF4-FFF2-40B4-BE49-F238E27FC236}">
                <a16:creationId xmlns:a16="http://schemas.microsoft.com/office/drawing/2014/main" id="{72EB37C6-E94A-4B18-9CA9-3D4226637C8C}"/>
              </a:ext>
            </a:extLst>
          </p:cNvPr>
          <p:cNvCxnSpPr>
            <a:cxnSpLocks/>
          </p:cNvCxnSpPr>
          <p:nvPr/>
        </p:nvCxnSpPr>
        <p:spPr>
          <a:xfrm flipH="1">
            <a:off x="3959290" y="3523756"/>
            <a:ext cx="1594170" cy="0"/>
          </a:xfrm>
          <a:prstGeom prst="straightConnector1">
            <a:avLst/>
          </a:prstGeom>
          <a:ln w="28575">
            <a:solidFill>
              <a:srgbClr val="1199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0937E7A4-0F47-4AE9-A28C-889391BB1CD1}"/>
              </a:ext>
            </a:extLst>
          </p:cNvPr>
          <p:cNvCxnSpPr>
            <a:cxnSpLocks/>
          </p:cNvCxnSpPr>
          <p:nvPr/>
        </p:nvCxnSpPr>
        <p:spPr>
          <a:xfrm flipH="1">
            <a:off x="6531795" y="3523756"/>
            <a:ext cx="1594170" cy="0"/>
          </a:xfrm>
          <a:prstGeom prst="straightConnector1">
            <a:avLst/>
          </a:prstGeom>
          <a:ln w="28575">
            <a:solidFill>
              <a:srgbClr val="1199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3416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D15601A-0DD7-4067-88A8-B3A4F2536376}"/>
              </a:ext>
            </a:extLst>
          </p:cNvPr>
          <p:cNvGrpSpPr/>
          <p:nvPr/>
        </p:nvGrpSpPr>
        <p:grpSpPr>
          <a:xfrm>
            <a:off x="6087936" y="2025129"/>
            <a:ext cx="3702012" cy="2522286"/>
            <a:chOff x="6443863" y="169652"/>
            <a:chExt cx="3703063" cy="2523002"/>
          </a:xfrm>
          <a:solidFill>
            <a:srgbClr val="00B0F0"/>
          </a:solidFill>
        </p:grpSpPr>
        <p:sp>
          <p:nvSpPr>
            <p:cNvPr id="27" name="Rectangle 26">
              <a:extLst>
                <a:ext uri="{FF2B5EF4-FFF2-40B4-BE49-F238E27FC236}">
                  <a16:creationId xmlns:a16="http://schemas.microsoft.com/office/drawing/2014/main" id="{B7E96807-417B-4853-823C-2CA2C160C939}"/>
                </a:ext>
              </a:extLst>
            </p:cNvPr>
            <p:cNvSpPr/>
            <p:nvPr/>
          </p:nvSpPr>
          <p:spPr>
            <a:xfrm>
              <a:off x="8108231" y="169652"/>
              <a:ext cx="2038695" cy="1305098"/>
            </a:xfrm>
            <a:prstGeom prst="rect">
              <a:avLst/>
            </a:prstGeom>
            <a:grpFill/>
            <a:ln>
              <a:solidFill>
                <a:schemeClr val="bg1"/>
              </a:solidFill>
            </a:ln>
          </p:spPr>
          <p:style>
            <a:lnRef idx="1">
              <a:schemeClr val="accent1"/>
            </a:lnRef>
            <a:fillRef idx="2">
              <a:schemeClr val="accent1"/>
            </a:fillRef>
            <a:effectRef idx="1">
              <a:schemeClr val="accent1"/>
            </a:effectRef>
            <a:fontRef idx="minor">
              <a:schemeClr val="dk1"/>
            </a:fontRef>
          </p:style>
          <p:txBody>
            <a:bodyPr rtlCol="0" anchor="t"/>
            <a:lstStyle/>
            <a:p>
              <a:pPr algn="r" defTabSz="914192"/>
              <a:r>
                <a:rPr lang="en-US" sz="1600" dirty="0">
                  <a:solidFill>
                    <a:schemeClr val="tx1"/>
                  </a:solidFill>
                  <a:latin typeface="Segoe UI (Body)"/>
                  <a:cs typeface="Segoe UI bold" panose="020B0802040204020203" pitchFamily="34" charset="0"/>
                </a:rPr>
                <a:t>IoT Hub</a:t>
              </a:r>
            </a:p>
          </p:txBody>
        </p:sp>
        <p:sp>
          <p:nvSpPr>
            <p:cNvPr id="28" name="Rectangle 27">
              <a:extLst>
                <a:ext uri="{FF2B5EF4-FFF2-40B4-BE49-F238E27FC236}">
                  <a16:creationId xmlns:a16="http://schemas.microsoft.com/office/drawing/2014/main" id="{9D397BBE-DC6E-4BBE-A994-BB1730A23EE0}"/>
                </a:ext>
              </a:extLst>
            </p:cNvPr>
            <p:cNvSpPr/>
            <p:nvPr/>
          </p:nvSpPr>
          <p:spPr>
            <a:xfrm>
              <a:off x="7589820" y="566960"/>
              <a:ext cx="2038695" cy="1305098"/>
            </a:xfrm>
            <a:prstGeom prst="rect">
              <a:avLst/>
            </a:prstGeom>
            <a:grpFill/>
            <a:ln>
              <a:solidFill>
                <a:schemeClr val="bg1"/>
              </a:solidFill>
            </a:ln>
          </p:spPr>
          <p:style>
            <a:lnRef idx="1">
              <a:schemeClr val="accent1"/>
            </a:lnRef>
            <a:fillRef idx="2">
              <a:schemeClr val="accent1"/>
            </a:fillRef>
            <a:effectRef idx="1">
              <a:schemeClr val="accent1"/>
            </a:effectRef>
            <a:fontRef idx="minor">
              <a:schemeClr val="dk1"/>
            </a:fontRef>
          </p:style>
          <p:txBody>
            <a:bodyPr rtlCol="0" anchor="t"/>
            <a:lstStyle/>
            <a:p>
              <a:pPr algn="r" defTabSz="914192"/>
              <a:r>
                <a:rPr lang="en-US" sz="1600">
                  <a:solidFill>
                    <a:schemeClr val="tx1"/>
                  </a:solidFill>
                  <a:latin typeface="Segoe UI (Body)"/>
                  <a:cs typeface="Segoe UI bold" panose="020B0802040204020203" pitchFamily="34" charset="0"/>
                </a:rPr>
                <a:t>IoT Hub</a:t>
              </a:r>
            </a:p>
          </p:txBody>
        </p:sp>
        <p:sp>
          <p:nvSpPr>
            <p:cNvPr id="30" name="Rectangle 29">
              <a:extLst>
                <a:ext uri="{FF2B5EF4-FFF2-40B4-BE49-F238E27FC236}">
                  <a16:creationId xmlns:a16="http://schemas.microsoft.com/office/drawing/2014/main" id="{DF11C572-FA63-45A4-9E4D-25E892EE9F3E}"/>
                </a:ext>
              </a:extLst>
            </p:cNvPr>
            <p:cNvSpPr/>
            <p:nvPr/>
          </p:nvSpPr>
          <p:spPr>
            <a:xfrm>
              <a:off x="7035155" y="985205"/>
              <a:ext cx="2038695" cy="1305098"/>
            </a:xfrm>
            <a:prstGeom prst="rect">
              <a:avLst/>
            </a:prstGeom>
            <a:grpFill/>
            <a:ln>
              <a:solidFill>
                <a:schemeClr val="bg1"/>
              </a:solidFill>
            </a:ln>
          </p:spPr>
          <p:style>
            <a:lnRef idx="1">
              <a:schemeClr val="accent1"/>
            </a:lnRef>
            <a:fillRef idx="2">
              <a:schemeClr val="accent1"/>
            </a:fillRef>
            <a:effectRef idx="1">
              <a:schemeClr val="accent1"/>
            </a:effectRef>
            <a:fontRef idx="minor">
              <a:schemeClr val="dk1"/>
            </a:fontRef>
          </p:style>
          <p:txBody>
            <a:bodyPr rtlCol="0" anchor="t"/>
            <a:lstStyle/>
            <a:p>
              <a:pPr algn="r" defTabSz="914192"/>
              <a:r>
                <a:rPr lang="en-US" sz="1600">
                  <a:solidFill>
                    <a:schemeClr val="tx1"/>
                  </a:solidFill>
                  <a:latin typeface="Segoe UI (Body)"/>
                  <a:cs typeface="Segoe UI bold" panose="020B0802040204020203" pitchFamily="34" charset="0"/>
                </a:rPr>
                <a:t>IoT Hub</a:t>
              </a:r>
            </a:p>
          </p:txBody>
        </p:sp>
        <p:sp>
          <p:nvSpPr>
            <p:cNvPr id="31" name="Rectangle 30">
              <a:extLst>
                <a:ext uri="{FF2B5EF4-FFF2-40B4-BE49-F238E27FC236}">
                  <a16:creationId xmlns:a16="http://schemas.microsoft.com/office/drawing/2014/main" id="{417F5E8E-A339-453A-98CD-A5F92D008A86}"/>
                </a:ext>
              </a:extLst>
            </p:cNvPr>
            <p:cNvSpPr/>
            <p:nvPr/>
          </p:nvSpPr>
          <p:spPr>
            <a:xfrm>
              <a:off x="6443863" y="1387556"/>
              <a:ext cx="2038695" cy="1305098"/>
            </a:xfrm>
            <a:prstGeom prst="rect">
              <a:avLst/>
            </a:prstGeom>
            <a:grpFill/>
            <a:ln>
              <a:solidFill>
                <a:schemeClr val="bg1"/>
              </a:solidFill>
            </a:ln>
          </p:spPr>
          <p:style>
            <a:lnRef idx="1">
              <a:schemeClr val="accent1"/>
            </a:lnRef>
            <a:fillRef idx="2">
              <a:schemeClr val="accent1"/>
            </a:fillRef>
            <a:effectRef idx="1">
              <a:schemeClr val="accent1"/>
            </a:effectRef>
            <a:fontRef idx="minor">
              <a:schemeClr val="dk1"/>
            </a:fontRef>
          </p:style>
          <p:txBody>
            <a:bodyPr rtlCol="0" anchor="t"/>
            <a:lstStyle/>
            <a:p>
              <a:pPr algn="r" defTabSz="914192"/>
              <a:r>
                <a:rPr lang="en-US" sz="1600">
                  <a:solidFill>
                    <a:schemeClr val="tx1"/>
                  </a:solidFill>
                  <a:latin typeface="Segoe UI (Body)"/>
                  <a:cs typeface="Segoe UI bold" panose="020B0802040204020203" pitchFamily="34" charset="0"/>
                </a:rPr>
                <a:t>IoT Hub</a:t>
              </a:r>
            </a:p>
          </p:txBody>
        </p:sp>
      </p:grpSp>
      <p:sp>
        <p:nvSpPr>
          <p:cNvPr id="2" name="Title 1">
            <a:extLst>
              <a:ext uri="{FF2B5EF4-FFF2-40B4-BE49-F238E27FC236}">
                <a16:creationId xmlns:a16="http://schemas.microsoft.com/office/drawing/2014/main" id="{0CC86FF5-28E4-458A-8D30-A9F042ACA464}"/>
              </a:ext>
            </a:extLst>
          </p:cNvPr>
          <p:cNvSpPr>
            <a:spLocks noGrp="1"/>
          </p:cNvSpPr>
          <p:nvPr>
            <p:ph type="title"/>
          </p:nvPr>
        </p:nvSpPr>
        <p:spPr/>
        <p:txBody>
          <a:bodyPr>
            <a:normAutofit/>
          </a:bodyPr>
          <a:lstStyle/>
          <a:p>
            <a:r>
              <a:rPr lang="en-US"/>
              <a:t>Provisioning with IoT Hub Device Provisioning Service</a:t>
            </a:r>
          </a:p>
        </p:txBody>
      </p:sp>
      <p:sp>
        <p:nvSpPr>
          <p:cNvPr id="5" name="Rectangle 4">
            <a:extLst>
              <a:ext uri="{FF2B5EF4-FFF2-40B4-BE49-F238E27FC236}">
                <a16:creationId xmlns:a16="http://schemas.microsoft.com/office/drawing/2014/main" id="{8DD5B9B0-A1DC-44EE-8847-4C74B17A7EC8}"/>
              </a:ext>
            </a:extLst>
          </p:cNvPr>
          <p:cNvSpPr/>
          <p:nvPr/>
        </p:nvSpPr>
        <p:spPr>
          <a:xfrm>
            <a:off x="5606415" y="3651169"/>
            <a:ext cx="2038117" cy="1304727"/>
          </a:xfrm>
          <a:prstGeom prst="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r>
              <a:rPr lang="en-US" sz="1600">
                <a:solidFill>
                  <a:schemeClr val="tx1"/>
                </a:solidFill>
                <a:latin typeface="Segoe UI (Body)"/>
                <a:cs typeface="Segoe UI Light" panose="020B0502040204020203" pitchFamily="34" charset="0"/>
              </a:rPr>
              <a:t>IoT Hub</a:t>
            </a:r>
          </a:p>
        </p:txBody>
      </p:sp>
      <p:sp>
        <p:nvSpPr>
          <p:cNvPr id="6" name="Rectangle 5">
            <a:extLst>
              <a:ext uri="{FF2B5EF4-FFF2-40B4-BE49-F238E27FC236}">
                <a16:creationId xmlns:a16="http://schemas.microsoft.com/office/drawing/2014/main" id="{95C10FCC-AFE6-40FD-ACE9-D58DF8AECBCD}"/>
              </a:ext>
            </a:extLst>
          </p:cNvPr>
          <p:cNvSpPr/>
          <p:nvPr/>
        </p:nvSpPr>
        <p:spPr>
          <a:xfrm>
            <a:off x="1167040" y="4589657"/>
            <a:ext cx="1257813" cy="606657"/>
          </a:xfrm>
          <a:prstGeom prst="rect">
            <a:avLst/>
          </a:prstGeom>
          <a:solidFill>
            <a:schemeClr val="accent4">
              <a:lumMod val="50000"/>
            </a:schemeClr>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192"/>
            <a:r>
              <a:rPr lang="en-US" sz="1600">
                <a:solidFill>
                  <a:schemeClr val="tx1"/>
                </a:solidFill>
                <a:latin typeface="Segoe UI (Body)"/>
                <a:cs typeface="Segoe UI Light" panose="020B0502040204020203" pitchFamily="34" charset="0"/>
              </a:rPr>
              <a:t>Device</a:t>
            </a:r>
          </a:p>
        </p:txBody>
      </p:sp>
      <p:sp>
        <p:nvSpPr>
          <p:cNvPr id="8" name="Rectangle 7">
            <a:extLst>
              <a:ext uri="{FF2B5EF4-FFF2-40B4-BE49-F238E27FC236}">
                <a16:creationId xmlns:a16="http://schemas.microsoft.com/office/drawing/2014/main" id="{77020A9B-E694-49AD-A013-864E87BF9714}"/>
              </a:ext>
            </a:extLst>
          </p:cNvPr>
          <p:cNvSpPr/>
          <p:nvPr/>
        </p:nvSpPr>
        <p:spPr>
          <a:xfrm>
            <a:off x="1795947" y="2594848"/>
            <a:ext cx="2344772" cy="7044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r>
              <a:rPr lang="en-US" sz="1600">
                <a:solidFill>
                  <a:schemeClr val="tx1"/>
                </a:solidFill>
                <a:latin typeface="Segoe UI (Body)"/>
                <a:cs typeface="Segoe UI Light" panose="020B0502040204020203" pitchFamily="34" charset="0"/>
              </a:rPr>
              <a:t>Device Provisioning Service</a:t>
            </a:r>
          </a:p>
        </p:txBody>
      </p:sp>
      <p:sp>
        <p:nvSpPr>
          <p:cNvPr id="10" name="Cloud 9">
            <a:extLst>
              <a:ext uri="{FF2B5EF4-FFF2-40B4-BE49-F238E27FC236}">
                <a16:creationId xmlns:a16="http://schemas.microsoft.com/office/drawing/2014/main" id="{58B43924-238F-4046-8A35-257C35D294E1}"/>
              </a:ext>
            </a:extLst>
          </p:cNvPr>
          <p:cNvSpPr/>
          <p:nvPr/>
        </p:nvSpPr>
        <p:spPr>
          <a:xfrm>
            <a:off x="8939247" y="3382938"/>
            <a:ext cx="2413063" cy="1791882"/>
          </a:xfrm>
          <a:prstGeom prst="cloud">
            <a:avLst/>
          </a:prstGeom>
          <a:solidFill>
            <a:schemeClr val="tx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192"/>
            <a:r>
              <a:rPr lang="en-US" sz="1765" b="1" dirty="0">
                <a:solidFill>
                  <a:sysClr val="windowText" lastClr="000000"/>
                </a:solidFill>
                <a:latin typeface="Segoe UI Light" panose="020B0502040204020203" pitchFamily="34" charset="0"/>
                <a:cs typeface="Segoe UI Light" panose="020B0502040204020203" pitchFamily="34" charset="0"/>
              </a:rPr>
              <a:t>Business logic</a:t>
            </a:r>
          </a:p>
        </p:txBody>
      </p:sp>
      <p:cxnSp>
        <p:nvCxnSpPr>
          <p:cNvPr id="11" name="Straight Arrow Connector 10">
            <a:extLst>
              <a:ext uri="{FF2B5EF4-FFF2-40B4-BE49-F238E27FC236}">
                <a16:creationId xmlns:a16="http://schemas.microsoft.com/office/drawing/2014/main" id="{21AE8F44-B3FD-40FA-B29C-DB56E5211A21}"/>
              </a:ext>
            </a:extLst>
          </p:cNvPr>
          <p:cNvCxnSpPr>
            <a:cxnSpLocks/>
            <a:stCxn id="5" idx="3"/>
            <a:endCxn id="10" idx="2"/>
          </p:cNvCxnSpPr>
          <p:nvPr/>
        </p:nvCxnSpPr>
        <p:spPr>
          <a:xfrm flipV="1">
            <a:off x="7644533" y="4278878"/>
            <a:ext cx="1302198" cy="24655"/>
          </a:xfrm>
          <a:prstGeom prst="straightConnector1">
            <a:avLst/>
          </a:prstGeom>
          <a:ln w="28575">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2" name="Connector: Curved 31">
            <a:extLst>
              <a:ext uri="{FF2B5EF4-FFF2-40B4-BE49-F238E27FC236}">
                <a16:creationId xmlns:a16="http://schemas.microsoft.com/office/drawing/2014/main" id="{7042A24E-1330-436F-B474-46FA1A478EEB}"/>
              </a:ext>
            </a:extLst>
          </p:cNvPr>
          <p:cNvCxnSpPr>
            <a:cxnSpLocks/>
            <a:stCxn id="6" idx="0"/>
            <a:endCxn id="8" idx="2"/>
          </p:cNvCxnSpPr>
          <p:nvPr/>
        </p:nvCxnSpPr>
        <p:spPr>
          <a:xfrm rot="5400000" flipH="1" flipV="1">
            <a:off x="1736969" y="3358293"/>
            <a:ext cx="1290342" cy="1172386"/>
          </a:xfrm>
          <a:prstGeom prst="curvedConnector3">
            <a:avLst>
              <a:gd name="adj1" fmla="val 55313"/>
            </a:avLst>
          </a:prstGeom>
          <a:ln w="28575">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5" name="Connector: Curved 34">
            <a:extLst>
              <a:ext uri="{FF2B5EF4-FFF2-40B4-BE49-F238E27FC236}">
                <a16:creationId xmlns:a16="http://schemas.microsoft.com/office/drawing/2014/main" id="{B612B17F-CC58-42C7-9BE9-C4D26BDD52FB}"/>
              </a:ext>
            </a:extLst>
          </p:cNvPr>
          <p:cNvCxnSpPr>
            <a:cxnSpLocks/>
            <a:stCxn id="8" idx="3"/>
            <a:endCxn id="5" idx="0"/>
          </p:cNvCxnSpPr>
          <p:nvPr/>
        </p:nvCxnSpPr>
        <p:spPr>
          <a:xfrm>
            <a:off x="4140719" y="2947082"/>
            <a:ext cx="2484756" cy="704089"/>
          </a:xfrm>
          <a:prstGeom prst="curvedConnector2">
            <a:avLst/>
          </a:prstGeom>
          <a:ln w="28575">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8" name="Connector: Curved 37">
            <a:extLst>
              <a:ext uri="{FF2B5EF4-FFF2-40B4-BE49-F238E27FC236}">
                <a16:creationId xmlns:a16="http://schemas.microsoft.com/office/drawing/2014/main" id="{4E37C41D-A347-450F-AC99-28EDF24A4B0B}"/>
              </a:ext>
            </a:extLst>
          </p:cNvPr>
          <p:cNvCxnSpPr>
            <a:cxnSpLocks/>
            <a:stCxn id="5" idx="0"/>
            <a:endCxn id="8" idx="3"/>
          </p:cNvCxnSpPr>
          <p:nvPr/>
        </p:nvCxnSpPr>
        <p:spPr>
          <a:xfrm rot="16200000" flipV="1">
            <a:off x="5031053" y="2056748"/>
            <a:ext cx="704089" cy="2484756"/>
          </a:xfrm>
          <a:prstGeom prst="curvedConnector2">
            <a:avLst/>
          </a:prstGeom>
          <a:ln w="28575">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5" name="Connector: Curved 44">
            <a:extLst>
              <a:ext uri="{FF2B5EF4-FFF2-40B4-BE49-F238E27FC236}">
                <a16:creationId xmlns:a16="http://schemas.microsoft.com/office/drawing/2014/main" id="{440AB167-BAD3-46D8-92F6-E8AAB963C4CE}"/>
              </a:ext>
            </a:extLst>
          </p:cNvPr>
          <p:cNvCxnSpPr>
            <a:cxnSpLocks/>
            <a:stCxn id="8" idx="2"/>
            <a:endCxn id="6" idx="0"/>
          </p:cNvCxnSpPr>
          <p:nvPr/>
        </p:nvCxnSpPr>
        <p:spPr>
          <a:xfrm rot="5400000">
            <a:off x="1736970" y="3358293"/>
            <a:ext cx="1290342" cy="1172386"/>
          </a:xfrm>
          <a:prstGeom prst="curvedConnector3">
            <a:avLst>
              <a:gd name="adj1" fmla="val 58856"/>
            </a:avLst>
          </a:prstGeom>
          <a:ln w="28575">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2" name="Connector: Curved 51">
            <a:extLst>
              <a:ext uri="{FF2B5EF4-FFF2-40B4-BE49-F238E27FC236}">
                <a16:creationId xmlns:a16="http://schemas.microsoft.com/office/drawing/2014/main" id="{B9A758EE-6063-4553-95C6-725798228B87}"/>
              </a:ext>
            </a:extLst>
          </p:cNvPr>
          <p:cNvCxnSpPr>
            <a:cxnSpLocks/>
            <a:stCxn id="6" idx="3"/>
            <a:endCxn id="5" idx="1"/>
          </p:cNvCxnSpPr>
          <p:nvPr/>
        </p:nvCxnSpPr>
        <p:spPr>
          <a:xfrm flipV="1">
            <a:off x="2424854" y="4303533"/>
            <a:ext cx="3181564" cy="589453"/>
          </a:xfrm>
          <a:prstGeom prst="curvedConnector3">
            <a:avLst>
              <a:gd name="adj1" fmla="val 41380"/>
            </a:avLst>
          </a:prstGeom>
          <a:ln w="28575">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6" name="Connector: Curved 55">
            <a:extLst>
              <a:ext uri="{FF2B5EF4-FFF2-40B4-BE49-F238E27FC236}">
                <a16:creationId xmlns:a16="http://schemas.microsoft.com/office/drawing/2014/main" id="{09D99A7F-5694-41F8-B357-7F7E5300082D}"/>
              </a:ext>
            </a:extLst>
          </p:cNvPr>
          <p:cNvCxnSpPr>
            <a:cxnSpLocks/>
            <a:stCxn id="5" idx="1"/>
            <a:endCxn id="6" idx="3"/>
          </p:cNvCxnSpPr>
          <p:nvPr/>
        </p:nvCxnSpPr>
        <p:spPr>
          <a:xfrm rot="10800000" flipV="1">
            <a:off x="2424854" y="4303533"/>
            <a:ext cx="3181564" cy="589453"/>
          </a:xfrm>
          <a:prstGeom prst="curvedConnector3">
            <a:avLst>
              <a:gd name="adj1" fmla="val 36352"/>
            </a:avLst>
          </a:prstGeom>
          <a:ln w="28575">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2" name="Rectangle: Folded Corner 71">
            <a:extLst>
              <a:ext uri="{FF2B5EF4-FFF2-40B4-BE49-F238E27FC236}">
                <a16:creationId xmlns:a16="http://schemas.microsoft.com/office/drawing/2014/main" id="{10344EAF-05F0-4750-85A2-145921D5FDE9}"/>
              </a:ext>
            </a:extLst>
          </p:cNvPr>
          <p:cNvSpPr/>
          <p:nvPr/>
        </p:nvSpPr>
        <p:spPr>
          <a:xfrm>
            <a:off x="1468000" y="3749581"/>
            <a:ext cx="1828282" cy="411946"/>
          </a:xfrm>
          <a:prstGeom prst="foldedCorner">
            <a:avLst>
              <a:gd name="adj" fmla="val 26667"/>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400">
                <a:solidFill>
                  <a:schemeClr val="tx1"/>
                </a:solidFill>
                <a:latin typeface="Segoe UI (Body)"/>
                <a:cs typeface="Segoe UI Light" panose="020B0502040204020203" pitchFamily="34" charset="0"/>
              </a:rPr>
              <a:t>“where do I go”</a:t>
            </a:r>
          </a:p>
        </p:txBody>
      </p:sp>
      <p:sp>
        <p:nvSpPr>
          <p:cNvPr id="73" name="Rectangle: Folded Corner 72">
            <a:extLst>
              <a:ext uri="{FF2B5EF4-FFF2-40B4-BE49-F238E27FC236}">
                <a16:creationId xmlns:a16="http://schemas.microsoft.com/office/drawing/2014/main" id="{8E5AB058-BEC1-4968-87E6-3E6C2CD0892A}"/>
              </a:ext>
            </a:extLst>
          </p:cNvPr>
          <p:cNvSpPr/>
          <p:nvPr/>
        </p:nvSpPr>
        <p:spPr>
          <a:xfrm>
            <a:off x="1468000" y="3560540"/>
            <a:ext cx="1828282" cy="606657"/>
          </a:xfrm>
          <a:prstGeom prst="foldedCorner">
            <a:avLst>
              <a:gd name="adj" fmla="val 26667"/>
            </a:avLst>
          </a:prstGeom>
          <a:solidFill>
            <a:srgbClr val="7030A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400">
                <a:solidFill>
                  <a:schemeClr val="tx1"/>
                </a:solidFill>
                <a:latin typeface="Segoe UI (Body)"/>
                <a:cs typeface="Segoe UI bold" panose="020B0802040204020203" pitchFamily="34" charset="0"/>
              </a:rPr>
              <a:t>Device authentication</a:t>
            </a:r>
          </a:p>
        </p:txBody>
      </p:sp>
      <p:sp>
        <p:nvSpPr>
          <p:cNvPr id="74" name="Rectangle: Folded Corner 73">
            <a:extLst>
              <a:ext uri="{FF2B5EF4-FFF2-40B4-BE49-F238E27FC236}">
                <a16:creationId xmlns:a16="http://schemas.microsoft.com/office/drawing/2014/main" id="{8B35449B-3B60-4D1D-AFE8-1C11332990BB}"/>
              </a:ext>
            </a:extLst>
          </p:cNvPr>
          <p:cNvSpPr/>
          <p:nvPr/>
        </p:nvSpPr>
        <p:spPr>
          <a:xfrm>
            <a:off x="839692" y="1461464"/>
            <a:ext cx="2016114" cy="695891"/>
          </a:xfrm>
          <a:prstGeom prst="foldedCorner">
            <a:avLst>
              <a:gd name="adj" fmla="val 26667"/>
            </a:avLst>
          </a:prstGeom>
          <a:solidFill>
            <a:srgbClr val="7030A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400" dirty="0">
                <a:solidFill>
                  <a:schemeClr val="tx1"/>
                </a:solidFill>
                <a:latin typeface="Segoe UI (Body)"/>
                <a:cs typeface="Segoe UI bold" panose="020B0802040204020203" pitchFamily="34" charset="0"/>
              </a:rPr>
              <a:t>Pre-register device enrollment info</a:t>
            </a:r>
          </a:p>
        </p:txBody>
      </p:sp>
      <p:sp>
        <p:nvSpPr>
          <p:cNvPr id="75" name="Rectangle: Folded Corner 74">
            <a:extLst>
              <a:ext uri="{FF2B5EF4-FFF2-40B4-BE49-F238E27FC236}">
                <a16:creationId xmlns:a16="http://schemas.microsoft.com/office/drawing/2014/main" id="{8D02624A-5B6C-4752-806F-1D9A59C901C1}"/>
              </a:ext>
            </a:extLst>
          </p:cNvPr>
          <p:cNvSpPr/>
          <p:nvPr/>
        </p:nvSpPr>
        <p:spPr>
          <a:xfrm>
            <a:off x="4626207" y="2444855"/>
            <a:ext cx="1828282" cy="952573"/>
          </a:xfrm>
          <a:prstGeom prst="foldedCorner">
            <a:avLst>
              <a:gd name="adj" fmla="val 26667"/>
            </a:avLst>
          </a:prstGeom>
          <a:solidFill>
            <a:srgbClr val="7030A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400" dirty="0">
                <a:solidFill>
                  <a:schemeClr val="tx1"/>
                </a:solidFill>
                <a:latin typeface="Segoe UI (Body)"/>
                <a:cs typeface="Segoe UI bold" panose="020B0802040204020203" pitchFamily="34" charset="0"/>
              </a:rPr>
              <a:t>Register new device, populate initial config</a:t>
            </a:r>
          </a:p>
        </p:txBody>
      </p:sp>
      <p:sp>
        <p:nvSpPr>
          <p:cNvPr id="76" name="Rectangle: Folded Corner 75">
            <a:extLst>
              <a:ext uri="{FF2B5EF4-FFF2-40B4-BE49-F238E27FC236}">
                <a16:creationId xmlns:a16="http://schemas.microsoft.com/office/drawing/2014/main" id="{CD0DF124-E93C-4DF8-A3CA-6CC94790FC9B}"/>
              </a:ext>
            </a:extLst>
          </p:cNvPr>
          <p:cNvSpPr/>
          <p:nvPr/>
        </p:nvSpPr>
        <p:spPr>
          <a:xfrm>
            <a:off x="4626207" y="2840449"/>
            <a:ext cx="1828282" cy="620125"/>
          </a:xfrm>
          <a:prstGeom prst="foldedCorner">
            <a:avLst>
              <a:gd name="adj" fmla="val 26667"/>
            </a:avLst>
          </a:prstGeom>
          <a:solidFill>
            <a:srgbClr val="7030A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400">
                <a:solidFill>
                  <a:schemeClr val="tx1"/>
                </a:solidFill>
                <a:latin typeface="Segoe UI (Body)"/>
                <a:cs typeface="Segoe UI bold" panose="020B0802040204020203" pitchFamily="34" charset="0"/>
              </a:rPr>
              <a:t>IoT Hub Connection String</a:t>
            </a:r>
          </a:p>
        </p:txBody>
      </p:sp>
      <p:sp>
        <p:nvSpPr>
          <p:cNvPr id="77" name="Rectangle: Folded Corner 76">
            <a:extLst>
              <a:ext uri="{FF2B5EF4-FFF2-40B4-BE49-F238E27FC236}">
                <a16:creationId xmlns:a16="http://schemas.microsoft.com/office/drawing/2014/main" id="{59F900C3-1802-4F3A-8CF0-ED479855B2D8}"/>
              </a:ext>
            </a:extLst>
          </p:cNvPr>
          <p:cNvSpPr/>
          <p:nvPr/>
        </p:nvSpPr>
        <p:spPr>
          <a:xfrm>
            <a:off x="1468310" y="3558686"/>
            <a:ext cx="1828282" cy="614556"/>
          </a:xfrm>
          <a:prstGeom prst="foldedCorner">
            <a:avLst>
              <a:gd name="adj" fmla="val 26667"/>
            </a:avLst>
          </a:prstGeom>
          <a:solidFill>
            <a:srgbClr val="7030A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400" dirty="0">
                <a:solidFill>
                  <a:schemeClr val="tx1"/>
                </a:solidFill>
                <a:latin typeface="Segoe UI (Body)"/>
                <a:cs typeface="Segoe UI bold" panose="020B0802040204020203" pitchFamily="34" charset="0"/>
              </a:rPr>
              <a:t>IoT Hub Connection String</a:t>
            </a:r>
          </a:p>
        </p:txBody>
      </p:sp>
      <p:sp>
        <p:nvSpPr>
          <p:cNvPr id="78" name="Rectangle: Folded Corner 77">
            <a:extLst>
              <a:ext uri="{FF2B5EF4-FFF2-40B4-BE49-F238E27FC236}">
                <a16:creationId xmlns:a16="http://schemas.microsoft.com/office/drawing/2014/main" id="{41726772-ECBD-494A-8F02-8340A1EB50E3}"/>
              </a:ext>
            </a:extLst>
          </p:cNvPr>
          <p:cNvSpPr/>
          <p:nvPr/>
        </p:nvSpPr>
        <p:spPr>
          <a:xfrm>
            <a:off x="3101495" y="4294711"/>
            <a:ext cx="1828282" cy="411946"/>
          </a:xfrm>
          <a:prstGeom prst="foldedCorner">
            <a:avLst>
              <a:gd name="adj" fmla="val 26667"/>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400">
                <a:solidFill>
                  <a:schemeClr val="tx1"/>
                </a:solidFill>
                <a:latin typeface="Segoe UI (Body)"/>
                <a:cs typeface="Segoe UI Light" panose="020B0502040204020203" pitchFamily="34" charset="0"/>
              </a:rPr>
              <a:t>Establish connection</a:t>
            </a:r>
          </a:p>
        </p:txBody>
      </p:sp>
      <p:sp>
        <p:nvSpPr>
          <p:cNvPr id="79" name="Rectangle: Folded Corner 78">
            <a:extLst>
              <a:ext uri="{FF2B5EF4-FFF2-40B4-BE49-F238E27FC236}">
                <a16:creationId xmlns:a16="http://schemas.microsoft.com/office/drawing/2014/main" id="{41D5C8D9-0BBC-45A3-AF29-18E21B19FD52}"/>
              </a:ext>
            </a:extLst>
          </p:cNvPr>
          <p:cNvSpPr/>
          <p:nvPr/>
        </p:nvSpPr>
        <p:spPr>
          <a:xfrm>
            <a:off x="3312743" y="4589656"/>
            <a:ext cx="1828282" cy="411946"/>
          </a:xfrm>
          <a:prstGeom prst="foldedCorner">
            <a:avLst>
              <a:gd name="adj" fmla="val 26667"/>
            </a:avLst>
          </a:prstGeom>
          <a:solidFill>
            <a:srgbClr val="7030A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400">
                <a:solidFill>
                  <a:schemeClr val="tx1"/>
                </a:solidFill>
                <a:latin typeface="Segoe UI (Body)"/>
                <a:cs typeface="Segoe UI bold" panose="020B0802040204020203" pitchFamily="34" charset="0"/>
              </a:rPr>
              <a:t>Initial configuration</a:t>
            </a:r>
          </a:p>
        </p:txBody>
      </p:sp>
      <p:sp>
        <p:nvSpPr>
          <p:cNvPr id="80" name="Rectangle: Folded Corner 79">
            <a:extLst>
              <a:ext uri="{FF2B5EF4-FFF2-40B4-BE49-F238E27FC236}">
                <a16:creationId xmlns:a16="http://schemas.microsoft.com/office/drawing/2014/main" id="{D84A4F77-E75E-4978-92E3-B2843077B17A}"/>
              </a:ext>
            </a:extLst>
          </p:cNvPr>
          <p:cNvSpPr/>
          <p:nvPr/>
        </p:nvSpPr>
        <p:spPr>
          <a:xfrm>
            <a:off x="6868221" y="3685614"/>
            <a:ext cx="1828282" cy="411946"/>
          </a:xfrm>
          <a:prstGeom prst="foldedCorner">
            <a:avLst>
              <a:gd name="adj" fmla="val 26667"/>
            </a:avLst>
          </a:prstGeom>
          <a:solidFill>
            <a:srgbClr val="7030A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600">
                <a:solidFill>
                  <a:schemeClr val="tx1"/>
                </a:solidFill>
                <a:latin typeface="Segoe UI (Body)"/>
                <a:cs typeface="Segoe UI bold" panose="020B0802040204020203" pitchFamily="34" charset="0"/>
              </a:rPr>
              <a:t>Device telemetry</a:t>
            </a:r>
          </a:p>
        </p:txBody>
      </p:sp>
      <p:sp>
        <p:nvSpPr>
          <p:cNvPr id="81" name="Rectangle: Folded Corner 80">
            <a:extLst>
              <a:ext uri="{FF2B5EF4-FFF2-40B4-BE49-F238E27FC236}">
                <a16:creationId xmlns:a16="http://schemas.microsoft.com/office/drawing/2014/main" id="{F00D6A06-3366-4793-991A-F20836A6015C}"/>
              </a:ext>
            </a:extLst>
          </p:cNvPr>
          <p:cNvSpPr/>
          <p:nvPr/>
        </p:nvSpPr>
        <p:spPr>
          <a:xfrm>
            <a:off x="9231638" y="4589656"/>
            <a:ext cx="1828282" cy="467658"/>
          </a:xfrm>
          <a:prstGeom prst="foldedCorner">
            <a:avLst>
              <a:gd name="adj" fmla="val 26667"/>
            </a:avLst>
          </a:prstGeom>
          <a:solidFill>
            <a:srgbClr val="7030A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600" dirty="0">
                <a:solidFill>
                  <a:schemeClr val="tx1"/>
                </a:solidFill>
                <a:latin typeface="Segoe UI (Body)"/>
                <a:cs typeface="Segoe UI bold" panose="020B0802040204020203" pitchFamily="34" charset="0"/>
              </a:rPr>
              <a:t>Insights</a:t>
            </a:r>
          </a:p>
        </p:txBody>
      </p:sp>
      <p:sp>
        <p:nvSpPr>
          <p:cNvPr id="25" name="Rectangle: Folded Corner 24">
            <a:extLst>
              <a:ext uri="{FF2B5EF4-FFF2-40B4-BE49-F238E27FC236}">
                <a16:creationId xmlns:a16="http://schemas.microsoft.com/office/drawing/2014/main" id="{F8562333-19CE-4BF7-896C-87CEEA54E190}"/>
              </a:ext>
            </a:extLst>
          </p:cNvPr>
          <p:cNvSpPr/>
          <p:nvPr/>
        </p:nvSpPr>
        <p:spPr>
          <a:xfrm>
            <a:off x="3101494" y="4289041"/>
            <a:ext cx="1828282" cy="411946"/>
          </a:xfrm>
          <a:prstGeom prst="foldedCorner">
            <a:avLst>
              <a:gd name="adj" fmla="val 26667"/>
            </a:avLst>
          </a:prstGeom>
          <a:solidFill>
            <a:srgbClr val="7030A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400">
                <a:solidFill>
                  <a:schemeClr val="tx1"/>
                </a:solidFill>
                <a:latin typeface="Segoe UI (Body)"/>
                <a:cs typeface="Segoe UI bold" panose="020B0802040204020203" pitchFamily="34" charset="0"/>
              </a:rPr>
              <a:t>Device telemetry</a:t>
            </a:r>
          </a:p>
        </p:txBody>
      </p:sp>
      <p:sp>
        <p:nvSpPr>
          <p:cNvPr id="26" name="Rectangle: Folded Corner 25">
            <a:extLst>
              <a:ext uri="{FF2B5EF4-FFF2-40B4-BE49-F238E27FC236}">
                <a16:creationId xmlns:a16="http://schemas.microsoft.com/office/drawing/2014/main" id="{7996EABC-3C9D-49DB-8477-763D4830F3ED}"/>
              </a:ext>
            </a:extLst>
          </p:cNvPr>
          <p:cNvSpPr/>
          <p:nvPr/>
        </p:nvSpPr>
        <p:spPr>
          <a:xfrm>
            <a:off x="5747833" y="4531063"/>
            <a:ext cx="1828282" cy="411946"/>
          </a:xfrm>
          <a:prstGeom prst="foldedCorner">
            <a:avLst>
              <a:gd name="adj" fmla="val 26667"/>
            </a:avLst>
          </a:prstGeom>
          <a:solidFill>
            <a:srgbClr val="7030A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92"/>
            <a:r>
              <a:rPr lang="en-US" sz="1400">
                <a:solidFill>
                  <a:schemeClr val="tx1"/>
                </a:solidFill>
                <a:latin typeface="Segoe UI (Body)"/>
                <a:cs typeface="Segoe UI bold" panose="020B0802040204020203" pitchFamily="34" charset="0"/>
              </a:rPr>
              <a:t>…</a:t>
            </a:r>
            <a:r>
              <a:rPr lang="en-US" sz="1400" err="1">
                <a:solidFill>
                  <a:schemeClr val="tx1"/>
                </a:solidFill>
                <a:latin typeface="Segoe UI (Body)"/>
                <a:cs typeface="Segoe UI bold" panose="020B0802040204020203" pitchFamily="34" charset="0"/>
              </a:rPr>
              <a:t>etc</a:t>
            </a:r>
            <a:endParaRPr lang="en-US" sz="1400">
              <a:solidFill>
                <a:schemeClr val="tx1"/>
              </a:solidFill>
              <a:latin typeface="Segoe UI (Body)"/>
              <a:cs typeface="Segoe UI bold" panose="020B0802040204020203" pitchFamily="34" charset="0"/>
            </a:endParaRPr>
          </a:p>
        </p:txBody>
      </p:sp>
      <p:sp>
        <p:nvSpPr>
          <p:cNvPr id="12" name="chip" title="Icon of a computer chip">
            <a:extLst>
              <a:ext uri="{FF2B5EF4-FFF2-40B4-BE49-F238E27FC236}">
                <a16:creationId xmlns:a16="http://schemas.microsoft.com/office/drawing/2014/main" id="{DEDF25D9-922F-419A-9AB9-880EC9B149C6}"/>
              </a:ext>
            </a:extLst>
          </p:cNvPr>
          <p:cNvSpPr>
            <a:spLocks noChangeAspect="1" noEditPoints="1"/>
          </p:cNvSpPr>
          <p:nvPr/>
        </p:nvSpPr>
        <p:spPr bwMode="auto">
          <a:xfrm>
            <a:off x="658707" y="4691137"/>
            <a:ext cx="431886" cy="44064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a:gradFill>
                <a:gsLst>
                  <a:gs pos="0">
                    <a:srgbClr val="505050"/>
                  </a:gs>
                  <a:gs pos="100000">
                    <a:srgbClr val="505050"/>
                  </a:gs>
                </a:gsLst>
              </a:gradFill>
              <a:latin typeface="Segoe UI"/>
            </a:endParaRPr>
          </a:p>
        </p:txBody>
      </p:sp>
      <p:pic>
        <p:nvPicPr>
          <p:cNvPr id="17" name="Picture 16" descr="A picture containing clock&#10;&#10;Description automatically generated">
            <a:extLst>
              <a:ext uri="{FF2B5EF4-FFF2-40B4-BE49-F238E27FC236}">
                <a16:creationId xmlns:a16="http://schemas.microsoft.com/office/drawing/2014/main" id="{ECAFF572-5875-4589-AD8D-4C494A15611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25632" y="4154851"/>
            <a:ext cx="314983" cy="314983"/>
          </a:xfrm>
          <a:prstGeom prst="rect">
            <a:avLst/>
          </a:prstGeom>
        </p:spPr>
      </p:pic>
      <p:pic>
        <p:nvPicPr>
          <p:cNvPr id="18" name="Graphic 17">
            <a:extLst>
              <a:ext uri="{FF2B5EF4-FFF2-40B4-BE49-F238E27FC236}">
                <a16:creationId xmlns:a16="http://schemas.microsoft.com/office/drawing/2014/main" id="{C9C2D03A-0724-4807-9A0C-0B89B7B56F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88836" y="2677493"/>
            <a:ext cx="558328" cy="581943"/>
          </a:xfrm>
          <a:prstGeom prst="rect">
            <a:avLst/>
          </a:prstGeom>
        </p:spPr>
      </p:pic>
    </p:spTree>
    <p:extLst>
      <p:ext uri="{BB962C8B-B14F-4D97-AF65-F5344CB8AC3E}">
        <p14:creationId xmlns:p14="http://schemas.microsoft.com/office/powerpoint/2010/main" val="876287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74"/>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3"/>
                                        </p:tgtEl>
                                        <p:attrNameLst>
                                          <p:attrName>style.visibility</p:attrName>
                                        </p:attrNameLst>
                                      </p:cBhvr>
                                      <p:to>
                                        <p:strVal val="hidden"/>
                                      </p:to>
                                    </p:set>
                                  </p:childTnLst>
                                </p:cTn>
                              </p:par>
                              <p:par>
                                <p:cTn id="9" presetID="37" presetClass="path" presetSubtype="0" accel="50000" decel="50000" fill="hold" grpId="0" nodeType="withEffect">
                                  <p:stCondLst>
                                    <p:cond delay="0"/>
                                  </p:stCondLst>
                                  <p:childTnLst>
                                    <p:animMotion origin="layout" path="M -0.03294 -0.05278 L 0.02058 -0.03611 C 0.03164 -0.03195 0.04453 -0.01898 0.05625 -0.00116 C 0.06914 0.01944 0.07696 0.04074 0.07995 0.06018 L 0.09571 0.15139 " pathEditMode="relative" rAng="2520000" ptsTypes="AAAAA">
                                      <p:cBhvr>
                                        <p:cTn id="10" dur="2000" fill="hold"/>
                                        <p:tgtEl>
                                          <p:spTgt spid="74"/>
                                        </p:tgtEl>
                                        <p:attrNameLst>
                                          <p:attrName>ppt_x</p:attrName>
                                          <p:attrName>ppt_y</p:attrName>
                                        </p:attrNameLst>
                                      </p:cBhvr>
                                      <p:rCtr x="7682" y="7731"/>
                                    </p:animMotion>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2"/>
                                        </p:tgtEl>
                                        <p:attrNameLst>
                                          <p:attrName>style.visibility</p:attrName>
                                        </p:attrNameLst>
                                      </p:cBhvr>
                                      <p:to>
                                        <p:strVal val="visible"/>
                                      </p:to>
                                    </p:set>
                                  </p:childTnLst>
                                </p:cTn>
                              </p:par>
                              <p:par>
                                <p:cTn id="17" presetID="1" presetClass="exit" presetSubtype="0" fill="hold" grpId="2" nodeType="withEffect">
                                  <p:stCondLst>
                                    <p:cond delay="0"/>
                                  </p:stCondLst>
                                  <p:childTnLst>
                                    <p:set>
                                      <p:cBhvr>
                                        <p:cTn id="18" dur="1" fill="hold">
                                          <p:stCondLst>
                                            <p:cond delay="0"/>
                                          </p:stCondLst>
                                        </p:cTn>
                                        <p:tgtEl>
                                          <p:spTgt spid="74"/>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3"/>
                                        </p:tgtEl>
                                        <p:attrNameLst>
                                          <p:attrName>style.visibility</p:attrName>
                                        </p:attrNameLst>
                                      </p:cBhvr>
                                      <p:to>
                                        <p:strVal val="visible"/>
                                      </p:to>
                                    </p:set>
                                  </p:childTnLst>
                                </p:cTn>
                              </p:par>
                              <p:par>
                                <p:cTn id="23" presetID="0" presetClass="path" presetSubtype="0" accel="50000" decel="50000" fill="hold" grpId="2" nodeType="withEffect">
                                  <p:stCondLst>
                                    <p:cond delay="0"/>
                                  </p:stCondLst>
                                  <p:childTnLst>
                                    <p:animMotion origin="layout" path="M 0.03503 -0.09051 L 0.03503 -0.09028 C 0.03412 -0.08658 0.03347 -0.08264 0.03255 -0.07871 C 0.0319 -0.07639 0.03099 -0.07454 0.03021 -0.07223 C 0.02956 -0.07061 0.0293 -0.06852 0.02852 -0.0669 C 0.02787 -0.06551 0.02696 -0.06459 0.02617 -0.06297 C 0.02513 -0.06042 0.02435 -0.05764 0.02305 -0.0551 C 0.02071 -0.05024 0.0181 -0.04584 0.01602 -0.04051 C 0.01498 -0.03797 0.01407 -0.03519 0.01289 -0.03264 C 0.01224 -0.03125 0.0112 -0.03033 0.01055 -0.02871 C 0.00886 -0.02524 0.00703 -0.02199 0.00573 -0.01829 C 0.00469 -0.01505 0.00391 -0.01181 0.00261 -0.00903 C 0.00143 -0.00649 -0.00039 -0.0051 -0.0013 -0.00232 C -0.00182 -0.0007 -0.00234 0.00115 -0.00286 0.00301 C -0.00338 0.00416 -0.00403 0.00532 -0.00442 0.00694 C -0.00755 0.01689 -0.00195 0.00324 -0.00755 0.01597 C -0.00911 0.02407 -0.00742 0.01597 -0.00989 0.02384 C -0.01107 0.02754 -0.01315 0.03449 -0.01315 0.03472 C -0.01471 0.0456 -0.01276 0.03472 -0.01549 0.04375 C -0.01588 0.0449 -0.01588 0.04652 -0.01627 0.04768 C -0.02148 0.06319 -0.01562 0.04166 -0.02096 0.05949 C -0.02135 0.06088 -0.02135 0.06226 -0.02187 0.06342 C -0.02278 0.0662 -0.02383 0.06875 -0.025 0.07129 L -0.02812 0.07916 C -0.02838 0.08055 -0.02838 0.08194 -0.0289 0.08333 C -0.02982 0.08588 -0.03151 0.08819 -0.03203 0.0912 C -0.03346 0.09838 -0.0319 0.09189 -0.03437 0.09907 C -0.03841 0.11064 -0.03372 0.09861 -0.0375 0.10833 C -0.03945 0.11759 -0.03672 0.10648 -0.04062 0.1162 C -0.04114 0.11736 -0.04101 0.11921 -0.0414 0.12013 C -0.04205 0.12129 -0.0431 0.12176 -0.04375 0.12268 C -0.04935 0.13009 -0.04049 0.1199 -0.04765 0.12824 C -0.05247 0.12523 -0.05078 0.12777 -0.04843 0.11342 C -0.04661 0.10162 -0.04804 0.11088 -0.04531 0.10439 C -0.04127 0.09375 -0.04661 0.1037 -0.0414 0.09513 C -0.03997 0.08773 -0.04153 0.09444 -0.03906 0.08726 C -0.03854 0.08541 -0.03802 0.08379 -0.0375 0.08194 C -0.03711 0.08055 -0.03646 0.07939 -0.03593 0.07801 C -0.03476 0.07453 -0.03398 0.07083 -0.03281 0.06736 C -0.03125 0.06319 -0.02942 0.05879 -0.02812 0.05439 C -0.02539 0.04537 -0.0276 0.05231 -0.025 0.04513 C -0.02409 0.04282 -0.02343 0.04051 -0.02265 0.03865 C -0.0207 0.03379 -0.02057 0.03379 -0.01862 0.03055 C -0.01836 0.0287 -0.01836 0.02685 -0.01784 0.02523 C -0.01718 0.02338 -0.01627 0.02199 -0.01549 0.0199 C -0.01484 0.01875 -0.01445 0.01736 -0.01393 0.01597 C -0.01315 0.01412 -0.01224 0.01273 -0.01159 0.01088 C -0.01093 0.00902 -0.01054 0.00717 -0.00989 0.00555 C -0.0095 0.00416 -0.00898 0.00301 -0.00833 0.00162 C -0.0069 -0.00602 -0.00872 0.00115 -0.00521 -0.00625 C -0.00416 -0.0088 -0.00312 -0.01158 -0.00208 -0.01436 L -0.00052 -0.01829 C -2.5E-6 -0.01945 0.00078 -0.02061 0.00104 -0.02223 C 0.00235 -0.02848 0.00235 -0.02987 0.00417 -0.03519 C 0.00469 -0.03658 0.00534 -0.03797 0.00573 -0.03912 C 0.00612 -0.04051 0.00612 -0.04213 0.00651 -0.04306 C 0.00755 -0.04607 0.00886 -0.04815 0.00977 -0.05093 C 0.01016 -0.05278 0.01055 -0.05487 0.01133 -0.05649 C 0.01224 -0.05834 0.01328 -0.05973 0.01446 -0.06181 L 0.01602 -0.06436 C 0.01654 -0.06505 0.01719 -0.06574 0.01758 -0.0669 C 0.0181 -0.06829 0.01849 -0.06968 0.01914 -0.07084 C 0.02018 -0.07269 0.02149 -0.07408 0.02227 -0.07616 L 0.02539 -0.08403 C 0.02604 -0.08542 0.02617 -0.08727 0.02696 -0.08797 L 0.0293 -0.09051 C 0.02995 -0.0919 0.03021 -0.09352 0.03099 -0.09445 C 0.03164 -0.09537 0.03255 -0.09514 0.03334 -0.09584 C 0.0336 -0.09607 0.03386 -0.09676 0.03412 -0.09699 L 0.03503 -0.09051 Z " pathEditMode="relative" rAng="0" ptsTypes="AAAAAAAAAAAAAAAAAAAAAAAAAAAAAAAAAAAAAAAAAAAAAAAAAAAAAAAAAAAAAAAAAAAAAA">
                                      <p:cBhvr>
                                        <p:cTn id="24" dur="2000" fill="hold"/>
                                        <p:tgtEl>
                                          <p:spTgt spid="73"/>
                                        </p:tgtEl>
                                        <p:attrNameLst>
                                          <p:attrName>ppt_x</p:attrName>
                                          <p:attrName>ppt_y</p:attrName>
                                        </p:attrNameLst>
                                      </p:cBhvr>
                                      <p:rCtr x="-4297" y="10602"/>
                                    </p:animMotion>
                                  </p:childTnLst>
                                </p:cTn>
                              </p:par>
                              <p:par>
                                <p:cTn id="25" presetID="1" presetClass="exit" presetSubtype="0" fill="hold" grpId="1" nodeType="withEffect">
                                  <p:stCondLst>
                                    <p:cond delay="0"/>
                                  </p:stCondLst>
                                  <p:childTnLst>
                                    <p:set>
                                      <p:cBhvr>
                                        <p:cTn id="26" dur="1" fill="hold">
                                          <p:stCondLst>
                                            <p:cond delay="0"/>
                                          </p:stCondLst>
                                        </p:cTn>
                                        <p:tgtEl>
                                          <p:spTgt spid="7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5"/>
                                        </p:tgtEl>
                                        <p:attrNameLst>
                                          <p:attrName>style.visibility</p:attrName>
                                        </p:attrNameLst>
                                      </p:cBhvr>
                                      <p:to>
                                        <p:strVal val="visible"/>
                                      </p:to>
                                    </p:set>
                                  </p:childTnLst>
                                </p:cTn>
                              </p:par>
                              <p:par>
                                <p:cTn id="31" presetID="1" presetClass="exit" presetSubtype="0" fill="hold" grpId="1" nodeType="withEffect">
                                  <p:stCondLst>
                                    <p:cond delay="0"/>
                                  </p:stCondLst>
                                  <p:childTnLst>
                                    <p:set>
                                      <p:cBhvr>
                                        <p:cTn id="32" dur="1" fill="hold">
                                          <p:stCondLst>
                                            <p:cond delay="0"/>
                                          </p:stCondLst>
                                        </p:cTn>
                                        <p:tgtEl>
                                          <p:spTgt spid="73"/>
                                        </p:tgtEl>
                                        <p:attrNameLst>
                                          <p:attrName>style.visibility</p:attrName>
                                        </p:attrNameLst>
                                      </p:cBhvr>
                                      <p:to>
                                        <p:strVal val="hidden"/>
                                      </p:to>
                                    </p:set>
                                  </p:childTnLst>
                                </p:cTn>
                              </p:par>
                              <p:par>
                                <p:cTn id="33" presetID="1" presetClass="entr" presetSubtype="0" fill="hold" grpId="0" nodeType="withEffect">
                                  <p:stCondLst>
                                    <p:cond delay="0"/>
                                  </p:stCondLst>
                                  <p:childTnLst>
                                    <p:set>
                                      <p:cBhvr>
                                        <p:cTn id="34" dur="1" fill="hold">
                                          <p:stCondLst>
                                            <p:cond delay="0"/>
                                          </p:stCondLst>
                                        </p:cTn>
                                        <p:tgtEl>
                                          <p:spTgt spid="7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8"/>
                                        </p:tgtEl>
                                        <p:attrNameLst>
                                          <p:attrName>style.visibility</p:attrName>
                                        </p:attrNameLst>
                                      </p:cBhvr>
                                      <p:to>
                                        <p:strVal val="visible"/>
                                      </p:to>
                                    </p:set>
                                  </p:childTnLst>
                                </p:cTn>
                              </p:par>
                              <p:par>
                                <p:cTn id="39" presetID="1" presetClass="exit" presetSubtype="0" fill="hold" grpId="1" nodeType="withEffect">
                                  <p:stCondLst>
                                    <p:cond delay="0"/>
                                  </p:stCondLst>
                                  <p:childTnLst>
                                    <p:set>
                                      <p:cBhvr>
                                        <p:cTn id="40" dur="1" fill="hold">
                                          <p:stCondLst>
                                            <p:cond delay="0"/>
                                          </p:stCondLst>
                                        </p:cTn>
                                        <p:tgtEl>
                                          <p:spTgt spid="75"/>
                                        </p:tgtEl>
                                        <p:attrNameLst>
                                          <p:attrName>style.visibility</p:attrName>
                                        </p:attrNameLst>
                                      </p:cBhvr>
                                      <p:to>
                                        <p:strVal val="hidden"/>
                                      </p:to>
                                    </p:set>
                                  </p:childTnLst>
                                </p:cTn>
                              </p:par>
                              <p:par>
                                <p:cTn id="41" presetID="1" presetClass="entr" presetSubtype="0" fill="hold" grpId="0" nodeType="withEffect">
                                  <p:stCondLst>
                                    <p:cond delay="0"/>
                                  </p:stCondLst>
                                  <p:childTnLst>
                                    <p:set>
                                      <p:cBhvr>
                                        <p:cTn id="42" dur="1" fill="hold">
                                          <p:stCondLst>
                                            <p:cond delay="0"/>
                                          </p:stCondLst>
                                        </p:cTn>
                                        <p:tgtEl>
                                          <p:spTgt spid="76"/>
                                        </p:tgtEl>
                                        <p:attrNameLst>
                                          <p:attrName>style.visibility</p:attrName>
                                        </p:attrNameLst>
                                      </p:cBhvr>
                                      <p:to>
                                        <p:strVal val="visible"/>
                                      </p:to>
                                    </p:set>
                                  </p:childTnLst>
                                </p:cTn>
                              </p:par>
                              <p:par>
                                <p:cTn id="43" presetID="1" presetClass="exit" presetSubtype="0" fill="hold" nodeType="withEffect">
                                  <p:stCondLst>
                                    <p:cond delay="0"/>
                                  </p:stCondLst>
                                  <p:childTnLst>
                                    <p:set>
                                      <p:cBhvr>
                                        <p:cTn id="44" dur="1" fill="hold">
                                          <p:stCondLst>
                                            <p:cond delay="0"/>
                                          </p:stCondLst>
                                        </p:cTn>
                                        <p:tgtEl>
                                          <p:spTgt spid="35"/>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45"/>
                                        </p:tgtEl>
                                        <p:attrNameLst>
                                          <p:attrName>style.visibility</p:attrName>
                                        </p:attrNameLst>
                                      </p:cBhvr>
                                      <p:to>
                                        <p:strVal val="visible"/>
                                      </p:to>
                                    </p:set>
                                  </p:childTnLst>
                                </p:cTn>
                              </p:par>
                              <p:par>
                                <p:cTn id="49" presetID="1" presetClass="exit" presetSubtype="0" fill="hold" grpId="1" nodeType="withEffect">
                                  <p:stCondLst>
                                    <p:cond delay="0"/>
                                  </p:stCondLst>
                                  <p:childTnLst>
                                    <p:set>
                                      <p:cBhvr>
                                        <p:cTn id="50" dur="1" fill="hold">
                                          <p:stCondLst>
                                            <p:cond delay="0"/>
                                          </p:stCondLst>
                                        </p:cTn>
                                        <p:tgtEl>
                                          <p:spTgt spid="76"/>
                                        </p:tgtEl>
                                        <p:attrNameLst>
                                          <p:attrName>style.visibility</p:attrName>
                                        </p:attrNameLst>
                                      </p:cBhvr>
                                      <p:to>
                                        <p:strVal val="hidden"/>
                                      </p:to>
                                    </p:set>
                                  </p:childTnLst>
                                </p:cTn>
                              </p:par>
                              <p:par>
                                <p:cTn id="51" presetID="1" presetClass="entr" presetSubtype="0" fill="hold" grpId="0" nodeType="withEffect">
                                  <p:stCondLst>
                                    <p:cond delay="0"/>
                                  </p:stCondLst>
                                  <p:childTnLst>
                                    <p:set>
                                      <p:cBhvr>
                                        <p:cTn id="52" dur="1" fill="hold">
                                          <p:stCondLst>
                                            <p:cond delay="0"/>
                                          </p:stCondLst>
                                        </p:cTn>
                                        <p:tgtEl>
                                          <p:spTgt spid="77"/>
                                        </p:tgtEl>
                                        <p:attrNameLst>
                                          <p:attrName>style.visibility</p:attrName>
                                        </p:attrNameLst>
                                      </p:cBhvr>
                                      <p:to>
                                        <p:strVal val="visible"/>
                                      </p:to>
                                    </p:set>
                                  </p:childTnLst>
                                </p:cTn>
                              </p:par>
                              <p:par>
                                <p:cTn id="53" presetID="1" presetClass="exit" presetSubtype="0" fill="hold" nodeType="withEffect">
                                  <p:stCondLst>
                                    <p:cond delay="0"/>
                                  </p:stCondLst>
                                  <p:childTnLst>
                                    <p:set>
                                      <p:cBhvr>
                                        <p:cTn id="54" dur="1" fill="hold">
                                          <p:stCondLst>
                                            <p:cond delay="0"/>
                                          </p:stCondLst>
                                        </p:cTn>
                                        <p:tgtEl>
                                          <p:spTgt spid="32"/>
                                        </p:tgtEl>
                                        <p:attrNameLst>
                                          <p:attrName>style.visibility</p:attrName>
                                        </p:attrNameLst>
                                      </p:cBhvr>
                                      <p:to>
                                        <p:strVal val="hidden"/>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52"/>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78"/>
                                        </p:tgtEl>
                                        <p:attrNameLst>
                                          <p:attrName>style.visibility</p:attrName>
                                        </p:attrNameLst>
                                      </p:cBhvr>
                                      <p:to>
                                        <p:strVal val="visible"/>
                                      </p:to>
                                    </p:set>
                                  </p:childTnLst>
                                </p:cTn>
                              </p:par>
                              <p:par>
                                <p:cTn id="61" presetID="1" presetClass="exit" presetSubtype="0" fill="hold" grpId="1" nodeType="withEffect">
                                  <p:stCondLst>
                                    <p:cond delay="0"/>
                                  </p:stCondLst>
                                  <p:childTnLst>
                                    <p:set>
                                      <p:cBhvr>
                                        <p:cTn id="62" dur="1" fill="hold">
                                          <p:stCondLst>
                                            <p:cond delay="0"/>
                                          </p:stCondLst>
                                        </p:cTn>
                                        <p:tgtEl>
                                          <p:spTgt spid="77"/>
                                        </p:tgtEl>
                                        <p:attrNameLst>
                                          <p:attrName>style.visibility</p:attrName>
                                        </p:attrNameLst>
                                      </p:cBhvr>
                                      <p:to>
                                        <p:strVal val="hidden"/>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56"/>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79"/>
                                        </p:tgtEl>
                                        <p:attrNameLst>
                                          <p:attrName>style.visibility</p:attrName>
                                        </p:attrNameLst>
                                      </p:cBhvr>
                                      <p:to>
                                        <p:strVal val="visible"/>
                                      </p:to>
                                    </p:set>
                                  </p:childTnLst>
                                </p:cTn>
                              </p:par>
                              <p:par>
                                <p:cTn id="69" presetID="1" presetClass="exit" presetSubtype="0" fill="hold" grpId="1" nodeType="withEffect">
                                  <p:stCondLst>
                                    <p:cond delay="0"/>
                                  </p:stCondLst>
                                  <p:childTnLst>
                                    <p:set>
                                      <p:cBhvr>
                                        <p:cTn id="70" dur="1" fill="hold">
                                          <p:stCondLst>
                                            <p:cond delay="0"/>
                                          </p:stCondLst>
                                        </p:cTn>
                                        <p:tgtEl>
                                          <p:spTgt spid="78"/>
                                        </p:tgtEl>
                                        <p:attrNameLst>
                                          <p:attrName>style.visibility</p:attrName>
                                        </p:attrNameLst>
                                      </p:cBhvr>
                                      <p:to>
                                        <p:strVal val="hidden"/>
                                      </p:to>
                                    </p:set>
                                  </p:childTnLst>
                                </p:cTn>
                              </p:par>
                              <p:par>
                                <p:cTn id="71" presetID="1" presetClass="exit" presetSubtype="0" fill="hold" nodeType="withEffect">
                                  <p:stCondLst>
                                    <p:cond delay="0"/>
                                  </p:stCondLst>
                                  <p:childTnLst>
                                    <p:set>
                                      <p:cBhvr>
                                        <p:cTn id="72" dur="1" fill="hold">
                                          <p:stCondLst>
                                            <p:cond delay="0"/>
                                          </p:stCondLst>
                                        </p:cTn>
                                        <p:tgtEl>
                                          <p:spTgt spid="52"/>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25"/>
                                        </p:tgtEl>
                                        <p:attrNameLst>
                                          <p:attrName>style.visibility</p:attrName>
                                        </p:attrNameLst>
                                      </p:cBhvr>
                                      <p:to>
                                        <p:strVal val="visible"/>
                                      </p:to>
                                    </p:set>
                                  </p:childTnLst>
                                </p:cTn>
                              </p:par>
                              <p:par>
                                <p:cTn id="77" presetID="1" presetClass="exit" presetSubtype="0" fill="hold" grpId="2" nodeType="withEffect">
                                  <p:stCondLst>
                                    <p:cond delay="0"/>
                                  </p:stCondLst>
                                  <p:childTnLst>
                                    <p:set>
                                      <p:cBhvr>
                                        <p:cTn id="78" dur="1" fill="hold">
                                          <p:stCondLst>
                                            <p:cond delay="0"/>
                                          </p:stCondLst>
                                        </p:cTn>
                                        <p:tgtEl>
                                          <p:spTgt spid="79"/>
                                        </p:tgtEl>
                                        <p:attrNameLst>
                                          <p:attrName>style.visibility</p:attrName>
                                        </p:attrNameLst>
                                      </p:cBhvr>
                                      <p:to>
                                        <p:strVal val="hidden"/>
                                      </p:to>
                                    </p:set>
                                  </p:childTnLst>
                                </p:cTn>
                              </p:par>
                              <p:par>
                                <p:cTn id="79" presetID="1" presetClass="exit" presetSubtype="0" fill="hold" nodeType="withEffect">
                                  <p:stCondLst>
                                    <p:cond delay="0"/>
                                  </p:stCondLst>
                                  <p:childTnLst>
                                    <p:set>
                                      <p:cBhvr>
                                        <p:cTn id="80" dur="1" fill="hold">
                                          <p:stCondLst>
                                            <p:cond delay="0"/>
                                          </p:stCondLst>
                                        </p:cTn>
                                        <p:tgtEl>
                                          <p:spTgt spid="56"/>
                                        </p:tgtEl>
                                        <p:attrNameLst>
                                          <p:attrName>style.visibility</p:attrName>
                                        </p:attrNameLst>
                                      </p:cBhvr>
                                      <p:to>
                                        <p:strVal val="hidden"/>
                                      </p:to>
                                    </p:set>
                                  </p:childTnLst>
                                </p:cTn>
                              </p:par>
                              <p:par>
                                <p:cTn id="81" presetID="1" presetClass="entr" presetSubtype="0" fill="hold" nodeType="withEffect">
                                  <p:stCondLst>
                                    <p:cond delay="0"/>
                                  </p:stCondLst>
                                  <p:childTnLst>
                                    <p:set>
                                      <p:cBhvr>
                                        <p:cTn id="82" dur="1" fill="hold">
                                          <p:stCondLst>
                                            <p:cond delay="0"/>
                                          </p:stCondLst>
                                        </p:cTn>
                                        <p:tgtEl>
                                          <p:spTgt spid="52"/>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11"/>
                                        </p:tgtEl>
                                        <p:attrNameLst>
                                          <p:attrName>style.visibility</p:attrName>
                                        </p:attrNameLst>
                                      </p:cBhvr>
                                      <p:to>
                                        <p:strVal val="visible"/>
                                      </p:to>
                                    </p:set>
                                  </p:childTnLst>
                                </p:cTn>
                              </p:par>
                              <p:par>
                                <p:cTn id="87" presetID="1" presetClass="exit" presetSubtype="0" fill="hold" grpId="1" nodeType="withEffect">
                                  <p:stCondLst>
                                    <p:cond delay="0"/>
                                  </p:stCondLst>
                                  <p:childTnLst>
                                    <p:set>
                                      <p:cBhvr>
                                        <p:cTn id="88" dur="1" fill="hold">
                                          <p:stCondLst>
                                            <p:cond delay="0"/>
                                          </p:stCondLst>
                                        </p:cTn>
                                        <p:tgtEl>
                                          <p:spTgt spid="25"/>
                                        </p:tgtEl>
                                        <p:attrNameLst>
                                          <p:attrName>style.visibility</p:attrName>
                                        </p:attrNameLst>
                                      </p:cBhvr>
                                      <p:to>
                                        <p:strVal val="hidden"/>
                                      </p:to>
                                    </p:set>
                                  </p:childTnLst>
                                </p:cTn>
                              </p:par>
                              <p:par>
                                <p:cTn id="89" presetID="1" presetClass="exit" presetSubtype="0" fill="hold" grpId="1" nodeType="withEffect">
                                  <p:stCondLst>
                                    <p:cond delay="0"/>
                                  </p:stCondLst>
                                  <p:childTnLst>
                                    <p:set>
                                      <p:cBhvr>
                                        <p:cTn id="90" dur="1" fill="hold">
                                          <p:stCondLst>
                                            <p:cond delay="0"/>
                                          </p:stCondLst>
                                        </p:cTn>
                                        <p:tgtEl>
                                          <p:spTgt spid="79"/>
                                        </p:tgtEl>
                                        <p:attrNameLst>
                                          <p:attrName>style.visibility</p:attrName>
                                        </p:attrNameLst>
                                      </p:cBhvr>
                                      <p:to>
                                        <p:strVal val="hidden"/>
                                      </p:to>
                                    </p:set>
                                  </p:childTnLst>
                                </p:cTn>
                              </p:par>
                              <p:par>
                                <p:cTn id="91" presetID="1" presetClass="entr" presetSubtype="0" fill="hold" grpId="2" nodeType="withEffect">
                                  <p:stCondLst>
                                    <p:cond delay="0"/>
                                  </p:stCondLst>
                                  <p:childTnLst>
                                    <p:set>
                                      <p:cBhvr>
                                        <p:cTn id="92" dur="1" fill="hold">
                                          <p:stCondLst>
                                            <p:cond delay="0"/>
                                          </p:stCondLst>
                                        </p:cTn>
                                        <p:tgtEl>
                                          <p:spTgt spid="80"/>
                                        </p:tgtEl>
                                        <p:attrNameLst>
                                          <p:attrName>style.visibility</p:attrName>
                                        </p:attrNameLst>
                                      </p:cBhvr>
                                      <p:to>
                                        <p:strVal val="visible"/>
                                      </p:to>
                                    </p:set>
                                  </p:childTnLst>
                                </p:cTn>
                              </p:par>
                              <p:par>
                                <p:cTn id="93" presetID="37" presetClass="path" presetSubtype="0" accel="50000" decel="50000" fill="hold" grpId="0" nodeType="withEffect">
                                  <p:stCondLst>
                                    <p:cond delay="0"/>
                                  </p:stCondLst>
                                  <p:childTnLst>
                                    <p:animMotion origin="layout" path="M -0.02956 0.0588 L 0.00391 0.02199 C 0.01094 0.01366 0.02136 0.00949 0.03242 0.00949 C 0.04492 0.00949 0.05495 0.01366 0.06185 0.02199 L 0.09544 0.0588 " pathEditMode="relative" rAng="0" ptsTypes="AAAAA">
                                      <p:cBhvr>
                                        <p:cTn id="94" dur="1500" fill="hold"/>
                                        <p:tgtEl>
                                          <p:spTgt spid="80"/>
                                        </p:tgtEl>
                                        <p:attrNameLst>
                                          <p:attrName>ppt_x</p:attrName>
                                          <p:attrName>ppt_y</p:attrName>
                                        </p:attrNameLst>
                                      </p:cBhvr>
                                      <p:rCtr x="6250" y="-2477"/>
                                    </p:animMotion>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grpId="1" nodeType="clickEffect">
                                  <p:stCondLst>
                                    <p:cond delay="0"/>
                                  </p:stCondLst>
                                  <p:childTnLst>
                                    <p:set>
                                      <p:cBhvr>
                                        <p:cTn id="98" dur="1" fill="hold">
                                          <p:stCondLst>
                                            <p:cond delay="0"/>
                                          </p:stCondLst>
                                        </p:cTn>
                                        <p:tgtEl>
                                          <p:spTgt spid="81"/>
                                        </p:tgtEl>
                                        <p:attrNameLst>
                                          <p:attrName>style.visibility</p:attrName>
                                        </p:attrNameLst>
                                      </p:cBhvr>
                                      <p:to>
                                        <p:strVal val="visible"/>
                                      </p:to>
                                    </p:set>
                                  </p:childTnLst>
                                </p:cTn>
                              </p:par>
                              <p:par>
                                <p:cTn id="99" presetID="0" presetClass="path" presetSubtype="0" accel="50000" decel="50000" fill="hold" grpId="0" nodeType="withEffect">
                                  <p:stCondLst>
                                    <p:cond delay="0"/>
                                  </p:stCondLst>
                                  <p:childTnLst>
                                    <p:animMotion origin="layout" path="M -0.02917 -0.08125 C -0.16627 -0.08704 -0.30338 -0.09282 -0.38945 -0.07824 C -0.47552 -0.06366 -0.5056 -0.00926 -0.54635 0.00556 C -0.58685 0.02037 -0.6194 0.00926 -0.63346 0.01019 " pathEditMode="relative" rAng="0" ptsTypes="AAAA">
                                      <p:cBhvr>
                                        <p:cTn id="100" dur="2000" fill="hold"/>
                                        <p:tgtEl>
                                          <p:spTgt spid="81"/>
                                        </p:tgtEl>
                                        <p:attrNameLst>
                                          <p:attrName>ppt_x</p:attrName>
                                          <p:attrName>ppt_y</p:attrName>
                                        </p:attrNameLst>
                                      </p:cBhvr>
                                      <p:rCtr x="-30221" y="4398"/>
                                    </p:animMotion>
                                  </p:childTnLst>
                                </p:cTn>
                              </p:par>
                              <p:par>
                                <p:cTn id="101" presetID="1" presetClass="exit" presetSubtype="0" fill="hold" grpId="1" nodeType="withEffect">
                                  <p:stCondLst>
                                    <p:cond delay="0"/>
                                  </p:stCondLst>
                                  <p:childTnLst>
                                    <p:set>
                                      <p:cBhvr>
                                        <p:cTn id="102" dur="1" fill="hold">
                                          <p:stCondLst>
                                            <p:cond delay="0"/>
                                          </p:stCondLst>
                                        </p:cTn>
                                        <p:tgtEl>
                                          <p:spTgt spid="80"/>
                                        </p:tgtEl>
                                        <p:attrNameLst>
                                          <p:attrName>style.visibility</p:attrName>
                                        </p:attrNameLst>
                                      </p:cBhvr>
                                      <p:to>
                                        <p:strVal val="hidden"/>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grpId="0" nodeType="clickEffect">
                                  <p:stCondLst>
                                    <p:cond delay="0"/>
                                  </p:stCondLst>
                                  <p:childTnLst>
                                    <p:set>
                                      <p:cBhvr>
                                        <p:cTn id="10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2" grpId="1" animBg="1"/>
      <p:bldP spid="73" grpId="0" animBg="1"/>
      <p:bldP spid="73" grpId="1" animBg="1"/>
      <p:bldP spid="73" grpId="2" animBg="1"/>
      <p:bldP spid="74" grpId="0" animBg="1"/>
      <p:bldP spid="74" grpId="1" animBg="1"/>
      <p:bldP spid="74" grpId="2" animBg="1"/>
      <p:bldP spid="75" grpId="0" animBg="1"/>
      <p:bldP spid="75" grpId="1" animBg="1"/>
      <p:bldP spid="76" grpId="0" animBg="1"/>
      <p:bldP spid="76" grpId="1" animBg="1"/>
      <p:bldP spid="77" grpId="0" animBg="1"/>
      <p:bldP spid="77" grpId="1" animBg="1"/>
      <p:bldP spid="78" grpId="0" animBg="1"/>
      <p:bldP spid="78" grpId="1" animBg="1"/>
      <p:bldP spid="79" grpId="0" animBg="1"/>
      <p:bldP spid="79" grpId="1" animBg="1"/>
      <p:bldP spid="79" grpId="2" animBg="1"/>
      <p:bldP spid="80" grpId="0" animBg="1"/>
      <p:bldP spid="80" grpId="1" animBg="1"/>
      <p:bldP spid="80" grpId="2" animBg="1"/>
      <p:bldP spid="81" grpId="0" animBg="1"/>
      <p:bldP spid="81" grpId="1" animBg="1"/>
      <p:bldP spid="25" grpId="0" animBg="1"/>
      <p:bldP spid="25" grpId="1" animBg="1"/>
      <p:bldP spid="2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2EEE5B88-A321-4AA6-8DB2-1147656F758A}"/>
              </a:ext>
            </a:extLst>
          </p:cNvPr>
          <p:cNvSpPr/>
          <p:nvPr/>
        </p:nvSpPr>
        <p:spPr bwMode="auto">
          <a:xfrm>
            <a:off x="-1" y="0"/>
            <a:ext cx="12436476" cy="6858000"/>
          </a:xfrm>
          <a:prstGeom prst="ellipse">
            <a:avLst/>
          </a:prstGeom>
          <a:gradFill flip="none" rotWithShape="1">
            <a:gsLst>
              <a:gs pos="0">
                <a:srgbClr val="0078D3">
                  <a:lumMod val="50000"/>
                  <a:alpha val="44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075664E4-29BF-4AFB-B9F1-7C0F409FC1E1}"/>
              </a:ext>
            </a:extLst>
          </p:cNvPr>
          <p:cNvSpPr/>
          <p:nvPr/>
        </p:nvSpPr>
        <p:spPr>
          <a:xfrm>
            <a:off x="978992" y="1915305"/>
            <a:ext cx="1257813" cy="606657"/>
          </a:xfrm>
          <a:prstGeom prst="rect">
            <a:avLst/>
          </a:prstGeom>
          <a:solidFill>
            <a:schemeClr val="accent4">
              <a:lumMod val="50000"/>
            </a:schemeClr>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225">
              <a:defRPr/>
            </a:pPr>
            <a:r>
              <a:rPr lang="en-US" sz="1600">
                <a:solidFill>
                  <a:srgbClr val="FFFFFF"/>
                </a:solidFill>
                <a:latin typeface="Segoe UI Light" panose="020B0502040204020203" pitchFamily="34" charset="0"/>
                <a:cs typeface="Segoe UI Light" panose="020B0502040204020203" pitchFamily="34" charset="0"/>
              </a:rPr>
              <a:t>Device</a:t>
            </a:r>
          </a:p>
        </p:txBody>
      </p:sp>
      <p:sp>
        <p:nvSpPr>
          <p:cNvPr id="9" name="Rectangle 8">
            <a:extLst>
              <a:ext uri="{FF2B5EF4-FFF2-40B4-BE49-F238E27FC236}">
                <a16:creationId xmlns:a16="http://schemas.microsoft.com/office/drawing/2014/main" id="{921CDE13-5037-4F60-BB1E-7E2F4E9F2847}"/>
              </a:ext>
            </a:extLst>
          </p:cNvPr>
          <p:cNvSpPr/>
          <p:nvPr/>
        </p:nvSpPr>
        <p:spPr>
          <a:xfrm>
            <a:off x="9120109" y="1664774"/>
            <a:ext cx="2344772" cy="7044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600">
                <a:solidFill>
                  <a:srgbClr val="FFFFFF"/>
                </a:solidFill>
                <a:latin typeface="Segoe UI Light" panose="020B0502040204020203" pitchFamily="34" charset="0"/>
                <a:cs typeface="Segoe UI Light" panose="020B0502040204020203" pitchFamily="34" charset="0"/>
              </a:rPr>
              <a:t>IoT Hub </a:t>
            </a:r>
          </a:p>
          <a:p>
            <a:pPr algn="ctr" defTabSz="914225">
              <a:defRPr/>
            </a:pPr>
            <a:r>
              <a:rPr lang="en-US" sz="1600">
                <a:solidFill>
                  <a:srgbClr val="FFFFFF"/>
                </a:solidFill>
                <a:latin typeface="Segoe UI Light" panose="020B0502040204020203" pitchFamily="34" charset="0"/>
                <a:cs typeface="Segoe UI Light" panose="020B0502040204020203" pitchFamily="34" charset="0"/>
              </a:rPr>
              <a:t>East US</a:t>
            </a:r>
          </a:p>
        </p:txBody>
      </p:sp>
      <p:sp>
        <p:nvSpPr>
          <p:cNvPr id="10" name="Rectangle 9">
            <a:extLst>
              <a:ext uri="{FF2B5EF4-FFF2-40B4-BE49-F238E27FC236}">
                <a16:creationId xmlns:a16="http://schemas.microsoft.com/office/drawing/2014/main" id="{903486DD-037A-48BD-B88D-CFEA7E29FE8A}"/>
              </a:ext>
            </a:extLst>
          </p:cNvPr>
          <p:cNvSpPr/>
          <p:nvPr/>
        </p:nvSpPr>
        <p:spPr>
          <a:xfrm>
            <a:off x="9120109" y="2814309"/>
            <a:ext cx="2344772" cy="7044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600">
                <a:solidFill>
                  <a:srgbClr val="FFFFFF"/>
                </a:solidFill>
                <a:latin typeface="Segoe UI Light" panose="020B0502040204020203" pitchFamily="34" charset="0"/>
                <a:cs typeface="Segoe UI Light" panose="020B0502040204020203" pitchFamily="34" charset="0"/>
              </a:rPr>
              <a:t>IoT Hub </a:t>
            </a:r>
          </a:p>
          <a:p>
            <a:pPr algn="ctr" defTabSz="914225">
              <a:defRPr/>
            </a:pPr>
            <a:r>
              <a:rPr lang="en-US" sz="1600">
                <a:solidFill>
                  <a:srgbClr val="FFFFFF"/>
                </a:solidFill>
                <a:latin typeface="Segoe UI Light" panose="020B0502040204020203" pitchFamily="34" charset="0"/>
                <a:cs typeface="Segoe UI Light" panose="020B0502040204020203" pitchFamily="34" charset="0"/>
              </a:rPr>
              <a:t>West US</a:t>
            </a:r>
          </a:p>
        </p:txBody>
      </p:sp>
      <p:sp>
        <p:nvSpPr>
          <p:cNvPr id="11" name="Rectangle 10">
            <a:extLst>
              <a:ext uri="{FF2B5EF4-FFF2-40B4-BE49-F238E27FC236}">
                <a16:creationId xmlns:a16="http://schemas.microsoft.com/office/drawing/2014/main" id="{BCC6056B-F3A4-44B6-A785-709FA06869E8}"/>
              </a:ext>
            </a:extLst>
          </p:cNvPr>
          <p:cNvSpPr/>
          <p:nvPr/>
        </p:nvSpPr>
        <p:spPr>
          <a:xfrm>
            <a:off x="9120109" y="3916087"/>
            <a:ext cx="2344772" cy="7044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600">
                <a:solidFill>
                  <a:srgbClr val="FFFFFF"/>
                </a:solidFill>
                <a:latin typeface="Segoe UI Light" panose="020B0502040204020203" pitchFamily="34" charset="0"/>
                <a:cs typeface="Segoe UI Light" panose="020B0502040204020203" pitchFamily="34" charset="0"/>
              </a:rPr>
              <a:t>IoT Hub </a:t>
            </a:r>
          </a:p>
          <a:p>
            <a:pPr algn="ctr" defTabSz="914225">
              <a:defRPr/>
            </a:pPr>
            <a:r>
              <a:rPr lang="en-US" sz="1600">
                <a:solidFill>
                  <a:srgbClr val="FFFFFF"/>
                </a:solidFill>
                <a:latin typeface="Segoe UI Light" panose="020B0502040204020203" pitchFamily="34" charset="0"/>
                <a:cs typeface="Segoe UI Light" panose="020B0502040204020203" pitchFamily="34" charset="0"/>
              </a:rPr>
              <a:t>East Europe</a:t>
            </a:r>
          </a:p>
        </p:txBody>
      </p:sp>
      <p:sp>
        <p:nvSpPr>
          <p:cNvPr id="12" name="Rectangle 11">
            <a:extLst>
              <a:ext uri="{FF2B5EF4-FFF2-40B4-BE49-F238E27FC236}">
                <a16:creationId xmlns:a16="http://schemas.microsoft.com/office/drawing/2014/main" id="{4D2D61CA-0B49-4CD7-8CE9-DF62BEE671CE}"/>
              </a:ext>
            </a:extLst>
          </p:cNvPr>
          <p:cNvSpPr/>
          <p:nvPr/>
        </p:nvSpPr>
        <p:spPr>
          <a:xfrm>
            <a:off x="9120109" y="5017864"/>
            <a:ext cx="2344772" cy="7044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600">
                <a:solidFill>
                  <a:srgbClr val="FFFFFF"/>
                </a:solidFill>
                <a:latin typeface="Segoe UI Light" panose="020B0502040204020203" pitchFamily="34" charset="0"/>
                <a:cs typeface="Segoe UI Light" panose="020B0502040204020203" pitchFamily="34" charset="0"/>
              </a:rPr>
              <a:t>IoT Hub </a:t>
            </a:r>
          </a:p>
          <a:p>
            <a:pPr algn="ctr" defTabSz="914225">
              <a:defRPr/>
            </a:pPr>
            <a:r>
              <a:rPr lang="en-US" sz="1600">
                <a:solidFill>
                  <a:srgbClr val="FFFFFF"/>
                </a:solidFill>
                <a:latin typeface="Segoe UI Light" panose="020B0502040204020203" pitchFamily="34" charset="0"/>
                <a:cs typeface="Segoe UI Light" panose="020B0502040204020203" pitchFamily="34" charset="0"/>
              </a:rPr>
              <a:t>West Europe</a:t>
            </a:r>
          </a:p>
        </p:txBody>
      </p:sp>
      <p:sp>
        <p:nvSpPr>
          <p:cNvPr id="13" name="TextBox 12">
            <a:extLst>
              <a:ext uri="{FF2B5EF4-FFF2-40B4-BE49-F238E27FC236}">
                <a16:creationId xmlns:a16="http://schemas.microsoft.com/office/drawing/2014/main" id="{8F2C1CEE-2E1D-473F-BEA7-FD3C18E07839}"/>
              </a:ext>
            </a:extLst>
          </p:cNvPr>
          <p:cNvSpPr txBox="1"/>
          <p:nvPr/>
        </p:nvSpPr>
        <p:spPr>
          <a:xfrm>
            <a:off x="1060623" y="5862844"/>
            <a:ext cx="1730583" cy="276999"/>
          </a:xfrm>
          <a:prstGeom prst="rect">
            <a:avLst/>
          </a:prstGeom>
        </p:spPr>
        <p:txBody>
          <a:bodyPr wrap="square" lIns="0" tIns="0" rIns="0" bIns="0" rtlCol="0" anchor="t" anchorCtr="0">
            <a:spAutoFit/>
          </a:bodyPr>
          <a:lstStyle/>
          <a:p>
            <a:pPr defTabSz="914225">
              <a:defRPr/>
            </a:pPr>
            <a:r>
              <a:rPr lang="en-US">
                <a:solidFill>
                  <a:srgbClr val="FFFFFF"/>
                </a:solidFill>
                <a:latin typeface="Segoe UI"/>
              </a:rPr>
              <a:t>……millions</a:t>
            </a:r>
          </a:p>
        </p:txBody>
      </p:sp>
      <p:sp>
        <p:nvSpPr>
          <p:cNvPr id="14" name="Rectangle: Folded Corner 13">
            <a:extLst>
              <a:ext uri="{FF2B5EF4-FFF2-40B4-BE49-F238E27FC236}">
                <a16:creationId xmlns:a16="http://schemas.microsoft.com/office/drawing/2014/main" id="{8C6A0DFB-904A-474E-8C6A-621D6D1FFD26}"/>
              </a:ext>
            </a:extLst>
          </p:cNvPr>
          <p:cNvSpPr/>
          <p:nvPr/>
        </p:nvSpPr>
        <p:spPr>
          <a:xfrm>
            <a:off x="4760377" y="2505127"/>
            <a:ext cx="2344772" cy="1513179"/>
          </a:xfrm>
          <a:prstGeom prst="foldedCorner">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defRPr/>
            </a:pPr>
            <a:r>
              <a:rPr lang="en-US" sz="2000" dirty="0">
                <a:solidFill>
                  <a:srgbClr val="FFFFFF"/>
                </a:solidFill>
                <a:latin typeface="Segoe UI (Body)"/>
                <a:cs typeface="Segoe UI Light" panose="020B0502040204020203" pitchFamily="34" charset="0"/>
              </a:rPr>
              <a:t>Devices assigned to IoT Hub East US</a:t>
            </a:r>
          </a:p>
        </p:txBody>
      </p:sp>
      <p:cxnSp>
        <p:nvCxnSpPr>
          <p:cNvPr id="18" name="Straight Arrow Connector 17">
            <a:extLst>
              <a:ext uri="{FF2B5EF4-FFF2-40B4-BE49-F238E27FC236}">
                <a16:creationId xmlns:a16="http://schemas.microsoft.com/office/drawing/2014/main" id="{117B6E9B-2E26-407E-A9FD-F2D3C28C36FA}"/>
              </a:ext>
            </a:extLst>
          </p:cNvPr>
          <p:cNvCxnSpPr>
            <a:cxnSpLocks/>
            <a:stCxn id="4" idx="3"/>
          </p:cNvCxnSpPr>
          <p:nvPr/>
        </p:nvCxnSpPr>
        <p:spPr>
          <a:xfrm>
            <a:off x="2236806" y="2218634"/>
            <a:ext cx="2523571" cy="9479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7889C7E4-E385-4633-AE7E-3A893A7F82B6}"/>
              </a:ext>
            </a:extLst>
          </p:cNvPr>
          <p:cNvCxnSpPr>
            <a:cxnSpLocks/>
            <a:endCxn id="9" idx="1"/>
          </p:cNvCxnSpPr>
          <p:nvPr/>
        </p:nvCxnSpPr>
        <p:spPr>
          <a:xfrm flipV="1">
            <a:off x="7105150" y="2017009"/>
            <a:ext cx="2014959" cy="11495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B4A06319-DB6B-4A5D-A564-020A7B35EA17}"/>
              </a:ext>
            </a:extLst>
          </p:cNvPr>
          <p:cNvSpPr txBox="1"/>
          <p:nvPr/>
        </p:nvSpPr>
        <p:spPr>
          <a:xfrm>
            <a:off x="2869684" y="1868701"/>
            <a:ext cx="1257813" cy="553998"/>
          </a:xfrm>
          <a:prstGeom prst="rect">
            <a:avLst/>
          </a:prstGeom>
        </p:spPr>
        <p:txBody>
          <a:bodyPr wrap="square" lIns="0" tIns="0" rIns="0" bIns="0" rtlCol="0" anchor="t" anchorCtr="0">
            <a:spAutoFit/>
          </a:bodyPr>
          <a:lstStyle/>
          <a:p>
            <a:pPr defTabSz="914225">
              <a:defRPr/>
            </a:pPr>
            <a:r>
              <a:rPr lang="en-US" dirty="0">
                <a:solidFill>
                  <a:srgbClr val="FFFFFF"/>
                </a:solidFill>
                <a:latin typeface="Segoe UI"/>
              </a:rPr>
              <a:t>Provisioning request </a:t>
            </a:r>
          </a:p>
        </p:txBody>
      </p:sp>
      <p:sp>
        <p:nvSpPr>
          <p:cNvPr id="22" name="Rectangle 21">
            <a:extLst>
              <a:ext uri="{FF2B5EF4-FFF2-40B4-BE49-F238E27FC236}">
                <a16:creationId xmlns:a16="http://schemas.microsoft.com/office/drawing/2014/main" id="{95C142BC-5687-4C0A-9DD8-FDB1272D65F8}"/>
              </a:ext>
            </a:extLst>
          </p:cNvPr>
          <p:cNvSpPr/>
          <p:nvPr/>
        </p:nvSpPr>
        <p:spPr>
          <a:xfrm>
            <a:off x="978992" y="2708325"/>
            <a:ext cx="1257813" cy="606657"/>
          </a:xfrm>
          <a:prstGeom prst="rect">
            <a:avLst/>
          </a:prstGeom>
          <a:solidFill>
            <a:schemeClr val="accent4">
              <a:lumMod val="50000"/>
            </a:schemeClr>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225">
              <a:defRPr/>
            </a:pPr>
            <a:r>
              <a:rPr lang="en-US" sz="1600">
                <a:solidFill>
                  <a:srgbClr val="FFFFFF"/>
                </a:solidFill>
                <a:latin typeface="Segoe UI Light" panose="020B0502040204020203" pitchFamily="34" charset="0"/>
                <a:cs typeface="Segoe UI Light" panose="020B0502040204020203" pitchFamily="34" charset="0"/>
              </a:rPr>
              <a:t>Device</a:t>
            </a:r>
            <a:endParaRPr lang="en-US" sz="800">
              <a:solidFill>
                <a:srgbClr val="FFFFFF"/>
              </a:solidFill>
              <a:latin typeface="Segoe UI Light" panose="020B0502040204020203" pitchFamily="34" charset="0"/>
              <a:cs typeface="Segoe UI Light" panose="020B0502040204020203" pitchFamily="34" charset="0"/>
            </a:endParaRPr>
          </a:p>
        </p:txBody>
      </p:sp>
      <p:sp>
        <p:nvSpPr>
          <p:cNvPr id="23" name="Rectangle 22">
            <a:extLst>
              <a:ext uri="{FF2B5EF4-FFF2-40B4-BE49-F238E27FC236}">
                <a16:creationId xmlns:a16="http://schemas.microsoft.com/office/drawing/2014/main" id="{974809B9-B8E8-4EC7-98FF-A10C43EE05DE}"/>
              </a:ext>
            </a:extLst>
          </p:cNvPr>
          <p:cNvSpPr/>
          <p:nvPr/>
        </p:nvSpPr>
        <p:spPr>
          <a:xfrm>
            <a:off x="978992" y="3512849"/>
            <a:ext cx="1257813" cy="606657"/>
          </a:xfrm>
          <a:prstGeom prst="rect">
            <a:avLst/>
          </a:prstGeom>
          <a:solidFill>
            <a:schemeClr val="accent4">
              <a:lumMod val="50000"/>
            </a:schemeClr>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225">
              <a:defRPr/>
            </a:pPr>
            <a:r>
              <a:rPr lang="en-US" sz="1600">
                <a:solidFill>
                  <a:srgbClr val="FFFFFF"/>
                </a:solidFill>
                <a:latin typeface="Segoe UI Light" panose="020B0502040204020203" pitchFamily="34" charset="0"/>
                <a:cs typeface="Segoe UI Light" panose="020B0502040204020203" pitchFamily="34" charset="0"/>
              </a:rPr>
              <a:t>Device</a:t>
            </a:r>
            <a:endParaRPr lang="en-US" sz="800">
              <a:solidFill>
                <a:srgbClr val="FFFFFF"/>
              </a:solidFill>
              <a:latin typeface="Segoe UI Light" panose="020B0502040204020203" pitchFamily="34" charset="0"/>
              <a:cs typeface="Segoe UI Light" panose="020B0502040204020203" pitchFamily="34" charset="0"/>
            </a:endParaRPr>
          </a:p>
        </p:txBody>
      </p:sp>
      <p:sp>
        <p:nvSpPr>
          <p:cNvPr id="24" name="Rectangle 23">
            <a:extLst>
              <a:ext uri="{FF2B5EF4-FFF2-40B4-BE49-F238E27FC236}">
                <a16:creationId xmlns:a16="http://schemas.microsoft.com/office/drawing/2014/main" id="{34884F81-0600-49F0-8100-247248F5D23D}"/>
              </a:ext>
            </a:extLst>
          </p:cNvPr>
          <p:cNvSpPr/>
          <p:nvPr/>
        </p:nvSpPr>
        <p:spPr>
          <a:xfrm>
            <a:off x="978992" y="4309493"/>
            <a:ext cx="1257813" cy="606657"/>
          </a:xfrm>
          <a:prstGeom prst="rect">
            <a:avLst/>
          </a:prstGeom>
          <a:solidFill>
            <a:schemeClr val="accent4">
              <a:lumMod val="50000"/>
            </a:schemeClr>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225">
              <a:defRPr/>
            </a:pPr>
            <a:r>
              <a:rPr lang="en-US" sz="1600">
                <a:solidFill>
                  <a:srgbClr val="FFFFFF"/>
                </a:solidFill>
                <a:latin typeface="Segoe UI Light" panose="020B0502040204020203" pitchFamily="34" charset="0"/>
                <a:cs typeface="Segoe UI Light" panose="020B0502040204020203" pitchFamily="34" charset="0"/>
              </a:rPr>
              <a:t>Device</a:t>
            </a:r>
            <a:endParaRPr lang="en-US" sz="800">
              <a:solidFill>
                <a:srgbClr val="FFFFFF"/>
              </a:solidFill>
              <a:latin typeface="Segoe UI Light" panose="020B0502040204020203" pitchFamily="34" charset="0"/>
              <a:cs typeface="Segoe UI Light" panose="020B0502040204020203" pitchFamily="34" charset="0"/>
            </a:endParaRPr>
          </a:p>
        </p:txBody>
      </p:sp>
      <p:sp>
        <p:nvSpPr>
          <p:cNvPr id="25" name="Rectangle 24">
            <a:extLst>
              <a:ext uri="{FF2B5EF4-FFF2-40B4-BE49-F238E27FC236}">
                <a16:creationId xmlns:a16="http://schemas.microsoft.com/office/drawing/2014/main" id="{36E42846-1B4D-4AE1-B18D-540197A0F3CB}"/>
              </a:ext>
            </a:extLst>
          </p:cNvPr>
          <p:cNvSpPr/>
          <p:nvPr/>
        </p:nvSpPr>
        <p:spPr>
          <a:xfrm>
            <a:off x="978992" y="5114017"/>
            <a:ext cx="1257813" cy="606657"/>
          </a:xfrm>
          <a:prstGeom prst="rect">
            <a:avLst/>
          </a:prstGeom>
          <a:solidFill>
            <a:schemeClr val="accent4">
              <a:lumMod val="50000"/>
            </a:schemeClr>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225">
              <a:defRPr/>
            </a:pPr>
            <a:r>
              <a:rPr lang="en-US" sz="1600">
                <a:solidFill>
                  <a:srgbClr val="FFFFFF"/>
                </a:solidFill>
                <a:latin typeface="Segoe UI Light" panose="020B0502040204020203" pitchFamily="34" charset="0"/>
                <a:cs typeface="Segoe UI Light" panose="020B0502040204020203" pitchFamily="34" charset="0"/>
              </a:rPr>
              <a:t>Device</a:t>
            </a:r>
            <a:endParaRPr lang="en-US" sz="800">
              <a:solidFill>
                <a:srgbClr val="FFFFFF"/>
              </a:solidFill>
              <a:latin typeface="Segoe UI Light" panose="020B0502040204020203" pitchFamily="34" charset="0"/>
              <a:cs typeface="Segoe UI Light" panose="020B0502040204020203" pitchFamily="34" charset="0"/>
            </a:endParaRPr>
          </a:p>
        </p:txBody>
      </p:sp>
      <p:sp>
        <p:nvSpPr>
          <p:cNvPr id="26" name="Title 2">
            <a:extLst>
              <a:ext uri="{FF2B5EF4-FFF2-40B4-BE49-F238E27FC236}">
                <a16:creationId xmlns:a16="http://schemas.microsoft.com/office/drawing/2014/main" id="{6E84AF00-F29D-4B01-874E-D3C1507D76DE}"/>
              </a:ext>
            </a:extLst>
          </p:cNvPr>
          <p:cNvSpPr>
            <a:spLocks noGrp="1"/>
          </p:cNvSpPr>
          <p:nvPr>
            <p:ph type="title"/>
          </p:nvPr>
        </p:nvSpPr>
        <p:spPr/>
        <p:txBody>
          <a:bodyPr/>
          <a:lstStyle/>
          <a:p>
            <a:r>
              <a:rPr lang="en-US" dirty="0"/>
              <a:t>Re-Provisioning at Scale</a:t>
            </a:r>
          </a:p>
        </p:txBody>
      </p:sp>
      <p:pic>
        <p:nvPicPr>
          <p:cNvPr id="27" name="Graphic 26">
            <a:extLst>
              <a:ext uri="{FF2B5EF4-FFF2-40B4-BE49-F238E27FC236}">
                <a16:creationId xmlns:a16="http://schemas.microsoft.com/office/drawing/2014/main" id="{B9B79EBC-08E1-4AE1-8288-F697575DE3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42672" y="1472038"/>
            <a:ext cx="780180" cy="813178"/>
          </a:xfrm>
          <a:prstGeom prst="rect">
            <a:avLst/>
          </a:prstGeom>
        </p:spPr>
      </p:pic>
      <p:cxnSp>
        <p:nvCxnSpPr>
          <p:cNvPr id="33" name="Straight Arrow Connector 32">
            <a:extLst>
              <a:ext uri="{FF2B5EF4-FFF2-40B4-BE49-F238E27FC236}">
                <a16:creationId xmlns:a16="http://schemas.microsoft.com/office/drawing/2014/main" id="{F1E3FEEE-FC60-4267-BE9F-30FDF22DFD9C}"/>
              </a:ext>
            </a:extLst>
          </p:cNvPr>
          <p:cNvCxnSpPr>
            <a:cxnSpLocks/>
            <a:stCxn id="22" idx="3"/>
          </p:cNvCxnSpPr>
          <p:nvPr/>
        </p:nvCxnSpPr>
        <p:spPr>
          <a:xfrm>
            <a:off x="2236806" y="3011653"/>
            <a:ext cx="2523571" cy="1548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C9DA3C75-6FF8-43C7-AC37-7083F05A9BC0}"/>
              </a:ext>
            </a:extLst>
          </p:cNvPr>
          <p:cNvCxnSpPr>
            <a:cxnSpLocks/>
            <a:stCxn id="23" idx="3"/>
          </p:cNvCxnSpPr>
          <p:nvPr/>
        </p:nvCxnSpPr>
        <p:spPr>
          <a:xfrm flipV="1">
            <a:off x="2236806" y="3166542"/>
            <a:ext cx="2523571" cy="6496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C904477D-9199-40AF-A039-1BAA93CE9AD9}"/>
              </a:ext>
            </a:extLst>
          </p:cNvPr>
          <p:cNvCxnSpPr>
            <a:cxnSpLocks/>
            <a:stCxn id="24" idx="3"/>
          </p:cNvCxnSpPr>
          <p:nvPr/>
        </p:nvCxnSpPr>
        <p:spPr>
          <a:xfrm flipV="1">
            <a:off x="2236806" y="3166541"/>
            <a:ext cx="2523571" cy="14462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2F5ACB20-F0C9-4513-A0E4-7E84613F48D1}"/>
              </a:ext>
            </a:extLst>
          </p:cNvPr>
          <p:cNvCxnSpPr>
            <a:cxnSpLocks/>
            <a:stCxn id="25" idx="3"/>
          </p:cNvCxnSpPr>
          <p:nvPr/>
        </p:nvCxnSpPr>
        <p:spPr>
          <a:xfrm flipV="1">
            <a:off x="2236806" y="3166541"/>
            <a:ext cx="2523571" cy="22508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263F91C2-71FA-43EA-88F1-8C20CF89914B}"/>
              </a:ext>
            </a:extLst>
          </p:cNvPr>
          <p:cNvCxnSpPr>
            <a:cxnSpLocks/>
            <a:endCxn id="10" idx="1"/>
          </p:cNvCxnSpPr>
          <p:nvPr/>
        </p:nvCxnSpPr>
        <p:spPr>
          <a:xfrm>
            <a:off x="7105150" y="3166542"/>
            <a:ext cx="201495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Rectangle: Folded Corner 27">
            <a:extLst>
              <a:ext uri="{FF2B5EF4-FFF2-40B4-BE49-F238E27FC236}">
                <a16:creationId xmlns:a16="http://schemas.microsoft.com/office/drawing/2014/main" id="{7E33F454-2922-485D-846C-BD424626E0AA}"/>
              </a:ext>
            </a:extLst>
          </p:cNvPr>
          <p:cNvSpPr/>
          <p:nvPr/>
        </p:nvSpPr>
        <p:spPr>
          <a:xfrm>
            <a:off x="4760377" y="2513171"/>
            <a:ext cx="2344772" cy="1513179"/>
          </a:xfrm>
          <a:prstGeom prst="foldedCorner">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defRPr/>
            </a:pPr>
            <a:r>
              <a:rPr lang="en-US" sz="2000" dirty="0">
                <a:solidFill>
                  <a:srgbClr val="FFFFFF"/>
                </a:solidFill>
                <a:latin typeface="Segoe UI (Body)"/>
                <a:cs typeface="Segoe UI Light" panose="020B0502040204020203" pitchFamily="34" charset="0"/>
              </a:rPr>
              <a:t>Change devices assignments to IoT Hub West US</a:t>
            </a:r>
          </a:p>
        </p:txBody>
      </p:sp>
      <p:sp>
        <p:nvSpPr>
          <p:cNvPr id="6" name="chip" title="Icon of a computer chip">
            <a:extLst>
              <a:ext uri="{FF2B5EF4-FFF2-40B4-BE49-F238E27FC236}">
                <a16:creationId xmlns:a16="http://schemas.microsoft.com/office/drawing/2014/main" id="{D1B92A81-314F-4393-8B0C-6D8B5ED65EAC}"/>
              </a:ext>
            </a:extLst>
          </p:cNvPr>
          <p:cNvSpPr>
            <a:spLocks noChangeAspect="1" noEditPoints="1"/>
          </p:cNvSpPr>
          <p:nvPr/>
        </p:nvSpPr>
        <p:spPr bwMode="auto">
          <a:xfrm>
            <a:off x="446610" y="1955781"/>
            <a:ext cx="431886" cy="44064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a:gradFill>
                <a:gsLst>
                  <a:gs pos="0">
                    <a:srgbClr val="505050"/>
                  </a:gs>
                  <a:gs pos="100000">
                    <a:srgbClr val="505050"/>
                  </a:gs>
                </a:gsLst>
              </a:gradFill>
              <a:latin typeface="Segoe UI"/>
            </a:endParaRPr>
          </a:p>
        </p:txBody>
      </p:sp>
      <p:sp>
        <p:nvSpPr>
          <p:cNvPr id="7" name="chip" title="Icon of a computer chip">
            <a:extLst>
              <a:ext uri="{FF2B5EF4-FFF2-40B4-BE49-F238E27FC236}">
                <a16:creationId xmlns:a16="http://schemas.microsoft.com/office/drawing/2014/main" id="{39C2BD80-1734-4B3A-A171-CAB7BDF70315}"/>
              </a:ext>
            </a:extLst>
          </p:cNvPr>
          <p:cNvSpPr>
            <a:spLocks noChangeAspect="1" noEditPoints="1"/>
          </p:cNvSpPr>
          <p:nvPr/>
        </p:nvSpPr>
        <p:spPr bwMode="auto">
          <a:xfrm>
            <a:off x="459123" y="2791333"/>
            <a:ext cx="431886" cy="44064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a:gradFill>
                <a:gsLst>
                  <a:gs pos="0">
                    <a:srgbClr val="505050"/>
                  </a:gs>
                  <a:gs pos="100000">
                    <a:srgbClr val="505050"/>
                  </a:gs>
                </a:gsLst>
              </a:gradFill>
              <a:latin typeface="Segoe UI"/>
            </a:endParaRPr>
          </a:p>
        </p:txBody>
      </p:sp>
      <p:sp>
        <p:nvSpPr>
          <p:cNvPr id="8" name="chip" title="Icon of a computer chip">
            <a:extLst>
              <a:ext uri="{FF2B5EF4-FFF2-40B4-BE49-F238E27FC236}">
                <a16:creationId xmlns:a16="http://schemas.microsoft.com/office/drawing/2014/main" id="{0C77B414-7F7D-457D-B7AE-9F18B19345A3}"/>
              </a:ext>
            </a:extLst>
          </p:cNvPr>
          <p:cNvSpPr>
            <a:spLocks noChangeAspect="1" noEditPoints="1"/>
          </p:cNvSpPr>
          <p:nvPr/>
        </p:nvSpPr>
        <p:spPr bwMode="auto">
          <a:xfrm>
            <a:off x="434097" y="3621923"/>
            <a:ext cx="431886" cy="44064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a:gradFill>
                <a:gsLst>
                  <a:gs pos="0">
                    <a:srgbClr val="505050"/>
                  </a:gs>
                  <a:gs pos="100000">
                    <a:srgbClr val="505050"/>
                  </a:gs>
                </a:gsLst>
              </a:gradFill>
              <a:latin typeface="Segoe UI"/>
            </a:endParaRPr>
          </a:p>
        </p:txBody>
      </p:sp>
      <p:sp>
        <p:nvSpPr>
          <p:cNvPr id="15" name="chip" title="Icon of a computer chip">
            <a:extLst>
              <a:ext uri="{FF2B5EF4-FFF2-40B4-BE49-F238E27FC236}">
                <a16:creationId xmlns:a16="http://schemas.microsoft.com/office/drawing/2014/main" id="{43B82A2E-22B0-406A-B852-6C8BC429039B}"/>
              </a:ext>
            </a:extLst>
          </p:cNvPr>
          <p:cNvSpPr>
            <a:spLocks noChangeAspect="1" noEditPoints="1"/>
          </p:cNvSpPr>
          <p:nvPr/>
        </p:nvSpPr>
        <p:spPr bwMode="auto">
          <a:xfrm>
            <a:off x="446610" y="4436209"/>
            <a:ext cx="431886" cy="44064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a:gradFill>
                <a:gsLst>
                  <a:gs pos="0">
                    <a:srgbClr val="505050"/>
                  </a:gs>
                  <a:gs pos="100000">
                    <a:srgbClr val="505050"/>
                  </a:gs>
                </a:gsLst>
              </a:gradFill>
              <a:latin typeface="Segoe UI"/>
            </a:endParaRPr>
          </a:p>
        </p:txBody>
      </p:sp>
      <p:sp>
        <p:nvSpPr>
          <p:cNvPr id="16" name="chip" title="Icon of a computer chip">
            <a:extLst>
              <a:ext uri="{FF2B5EF4-FFF2-40B4-BE49-F238E27FC236}">
                <a16:creationId xmlns:a16="http://schemas.microsoft.com/office/drawing/2014/main" id="{BE2B0110-AC16-40E8-890B-BF33AF666FCD}"/>
              </a:ext>
            </a:extLst>
          </p:cNvPr>
          <p:cNvSpPr>
            <a:spLocks noChangeAspect="1" noEditPoints="1"/>
          </p:cNvSpPr>
          <p:nvPr/>
        </p:nvSpPr>
        <p:spPr bwMode="auto">
          <a:xfrm>
            <a:off x="446610" y="5227026"/>
            <a:ext cx="431886" cy="44064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a:gradFill>
                <a:gsLst>
                  <a:gs pos="0">
                    <a:srgbClr val="505050"/>
                  </a:gs>
                  <a:gs pos="100000">
                    <a:srgbClr val="505050"/>
                  </a:gs>
                </a:gsLst>
              </a:gradFill>
              <a:latin typeface="Segoe UI"/>
            </a:endParaRPr>
          </a:p>
        </p:txBody>
      </p:sp>
      <p:pic>
        <p:nvPicPr>
          <p:cNvPr id="17" name="Picture 16" descr="A picture containing clock&#10;&#10;Description automatically generated">
            <a:extLst>
              <a:ext uri="{FF2B5EF4-FFF2-40B4-BE49-F238E27FC236}">
                <a16:creationId xmlns:a16="http://schemas.microsoft.com/office/drawing/2014/main" id="{4D65344C-A454-4092-BB4B-787167F171D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67259" y="1740007"/>
            <a:ext cx="553999" cy="553999"/>
          </a:xfrm>
          <a:prstGeom prst="rect">
            <a:avLst/>
          </a:prstGeom>
        </p:spPr>
      </p:pic>
      <p:pic>
        <p:nvPicPr>
          <p:cNvPr id="19" name="Picture 18" descr="A picture containing clock&#10;&#10;Description automatically generated">
            <a:extLst>
              <a:ext uri="{FF2B5EF4-FFF2-40B4-BE49-F238E27FC236}">
                <a16:creationId xmlns:a16="http://schemas.microsoft.com/office/drawing/2014/main" id="{C62A05DD-AD29-4DA7-A3BF-861092142CB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71211" y="2875001"/>
            <a:ext cx="553999" cy="553999"/>
          </a:xfrm>
          <a:prstGeom prst="rect">
            <a:avLst/>
          </a:prstGeom>
        </p:spPr>
      </p:pic>
      <p:pic>
        <p:nvPicPr>
          <p:cNvPr id="41" name="Picture 40" descr="A picture containing clock&#10;&#10;Description automatically generated">
            <a:extLst>
              <a:ext uri="{FF2B5EF4-FFF2-40B4-BE49-F238E27FC236}">
                <a16:creationId xmlns:a16="http://schemas.microsoft.com/office/drawing/2014/main" id="{A95EB283-8B12-4574-BC3D-DF7F9E7144C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39751" y="3900387"/>
            <a:ext cx="553999" cy="553999"/>
          </a:xfrm>
          <a:prstGeom prst="rect">
            <a:avLst/>
          </a:prstGeom>
        </p:spPr>
      </p:pic>
      <p:pic>
        <p:nvPicPr>
          <p:cNvPr id="47" name="Picture 46" descr="A picture containing clock&#10;&#10;Description automatically generated">
            <a:extLst>
              <a:ext uri="{FF2B5EF4-FFF2-40B4-BE49-F238E27FC236}">
                <a16:creationId xmlns:a16="http://schemas.microsoft.com/office/drawing/2014/main" id="{BA1DFE4E-AA10-4CC8-B95B-FBAC81CBE5A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43703" y="5035381"/>
            <a:ext cx="553999" cy="553999"/>
          </a:xfrm>
          <a:prstGeom prst="rect">
            <a:avLst/>
          </a:prstGeom>
        </p:spPr>
      </p:pic>
    </p:spTree>
    <p:extLst>
      <p:ext uri="{BB962C8B-B14F-4D97-AF65-F5344CB8AC3E}">
        <p14:creationId xmlns:p14="http://schemas.microsoft.com/office/powerpoint/2010/main" val="2287993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500"/>
                                        <p:tgtEl>
                                          <p:spTgt spid="18"/>
                                        </p:tgtEl>
                                      </p:cBhvr>
                                    </p:animEffect>
                                  </p:childTnLst>
                                </p:cTn>
                              </p:par>
                              <p:par>
                                <p:cTn id="8" presetID="22" presetClass="entr" presetSubtype="8" fill="hold"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wipe(left)">
                                      <p:cBhvr>
                                        <p:cTn id="10" dur="500"/>
                                        <p:tgtEl>
                                          <p:spTgt spid="33"/>
                                        </p:tgtEl>
                                      </p:cBhvr>
                                    </p:animEffect>
                                  </p:childTnLst>
                                </p:cTn>
                              </p:par>
                              <p:par>
                                <p:cTn id="11" presetID="22" presetClass="entr" presetSubtype="8" fill="hold"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wipe(left)">
                                      <p:cBhvr>
                                        <p:cTn id="13" dur="500"/>
                                        <p:tgtEl>
                                          <p:spTgt spid="36"/>
                                        </p:tgtEl>
                                      </p:cBhvr>
                                    </p:animEffect>
                                  </p:childTnLst>
                                </p:cTn>
                              </p:par>
                              <p:par>
                                <p:cTn id="14" presetID="22" presetClass="entr" presetSubtype="8" fill="hold"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wipe(left)">
                                      <p:cBhvr>
                                        <p:cTn id="16" dur="500"/>
                                        <p:tgtEl>
                                          <p:spTgt spid="39"/>
                                        </p:tgtEl>
                                      </p:cBhvr>
                                    </p:animEffect>
                                  </p:childTnLst>
                                </p:cTn>
                              </p:par>
                              <p:par>
                                <p:cTn id="17" presetID="22" presetClass="entr" presetSubtype="8" fill="hold" nodeType="withEffect">
                                  <p:stCondLst>
                                    <p:cond delay="0"/>
                                  </p:stCondLst>
                                  <p:childTnLst>
                                    <p:set>
                                      <p:cBhvr>
                                        <p:cTn id="18" dur="1" fill="hold">
                                          <p:stCondLst>
                                            <p:cond delay="0"/>
                                          </p:stCondLst>
                                        </p:cTn>
                                        <p:tgtEl>
                                          <p:spTgt spid="42"/>
                                        </p:tgtEl>
                                        <p:attrNameLst>
                                          <p:attrName>style.visibility</p:attrName>
                                        </p:attrNameLst>
                                      </p:cBhvr>
                                      <p:to>
                                        <p:strVal val="visible"/>
                                      </p:to>
                                    </p:set>
                                    <p:animEffect transition="in" filter="wipe(left)">
                                      <p:cBhvr>
                                        <p:cTn id="19" dur="500"/>
                                        <p:tgtEl>
                                          <p:spTgt spid="42"/>
                                        </p:tgtEl>
                                      </p:cBhvr>
                                    </p:animEffect>
                                  </p:childTnLst>
                                </p:cTn>
                              </p:par>
                              <p:par>
                                <p:cTn id="20" presetID="1"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20"/>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28"/>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nodeType="click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wipe(left)">
                                      <p:cBhvr>
                                        <p:cTn id="34" dur="500"/>
                                        <p:tgtEl>
                                          <p:spTgt spid="18"/>
                                        </p:tgtEl>
                                      </p:cBhvr>
                                    </p:animEffect>
                                  </p:childTnLst>
                                </p:cTn>
                              </p:par>
                              <p:par>
                                <p:cTn id="35" presetID="22" presetClass="entr" presetSubtype="8" fill="hold" nodeType="withEffect">
                                  <p:stCondLst>
                                    <p:cond delay="0"/>
                                  </p:stCondLst>
                                  <p:childTnLst>
                                    <p:set>
                                      <p:cBhvr>
                                        <p:cTn id="36" dur="1" fill="hold">
                                          <p:stCondLst>
                                            <p:cond delay="0"/>
                                          </p:stCondLst>
                                        </p:cTn>
                                        <p:tgtEl>
                                          <p:spTgt spid="33"/>
                                        </p:tgtEl>
                                        <p:attrNameLst>
                                          <p:attrName>style.visibility</p:attrName>
                                        </p:attrNameLst>
                                      </p:cBhvr>
                                      <p:to>
                                        <p:strVal val="visible"/>
                                      </p:to>
                                    </p:set>
                                    <p:animEffect transition="in" filter="wipe(left)">
                                      <p:cBhvr>
                                        <p:cTn id="37" dur="500"/>
                                        <p:tgtEl>
                                          <p:spTgt spid="33"/>
                                        </p:tgtEl>
                                      </p:cBhvr>
                                    </p:animEffect>
                                  </p:childTnLst>
                                </p:cTn>
                              </p:par>
                              <p:par>
                                <p:cTn id="38" presetID="22" presetClass="entr" presetSubtype="8" fill="hold" nodeType="with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wipe(left)">
                                      <p:cBhvr>
                                        <p:cTn id="40" dur="500"/>
                                        <p:tgtEl>
                                          <p:spTgt spid="36"/>
                                        </p:tgtEl>
                                      </p:cBhvr>
                                    </p:animEffect>
                                  </p:childTnLst>
                                </p:cTn>
                              </p:par>
                              <p:par>
                                <p:cTn id="41" presetID="22" presetClass="entr" presetSubtype="8" fill="hold" nodeType="with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wipe(left)">
                                      <p:cBhvr>
                                        <p:cTn id="43" dur="500"/>
                                        <p:tgtEl>
                                          <p:spTgt spid="39"/>
                                        </p:tgtEl>
                                      </p:cBhvr>
                                    </p:animEffect>
                                  </p:childTnLst>
                                </p:cTn>
                              </p:par>
                              <p:par>
                                <p:cTn id="44" presetID="22" presetClass="entr" presetSubtype="8" fill="hold" nodeType="with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wipe(left)">
                                      <p:cBhvr>
                                        <p:cTn id="46" dur="500"/>
                                        <p:tgtEl>
                                          <p:spTgt spid="42"/>
                                        </p:tgtEl>
                                      </p:cBhvr>
                                    </p:animEffect>
                                  </p:childTnLst>
                                </p:cTn>
                              </p:par>
                              <p:par>
                                <p:cTn id="47" presetID="22" presetClass="entr" presetSubtype="8" fill="hold" grpId="1" nodeType="withEffect">
                                  <p:stCondLst>
                                    <p:cond delay="0"/>
                                  </p:stCondLst>
                                  <p:childTnLst>
                                    <p:set>
                                      <p:cBhvr>
                                        <p:cTn id="48" dur="1" fill="hold">
                                          <p:stCondLst>
                                            <p:cond delay="0"/>
                                          </p:stCondLst>
                                        </p:cTn>
                                        <p:tgtEl>
                                          <p:spTgt spid="21"/>
                                        </p:tgtEl>
                                        <p:attrNameLst>
                                          <p:attrName>style.visibility</p:attrName>
                                        </p:attrNameLst>
                                      </p:cBhvr>
                                      <p:to>
                                        <p:strVal val="visible"/>
                                      </p:to>
                                    </p:set>
                                    <p:animEffect transition="in" filter="wipe(left)">
                                      <p:cBhvr>
                                        <p:cTn id="49" dur="500"/>
                                        <p:tgtEl>
                                          <p:spTgt spid="21"/>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xit" presetSubtype="0" fill="hold" nodeType="clickEffect">
                                  <p:stCondLst>
                                    <p:cond delay="0"/>
                                  </p:stCondLst>
                                  <p:childTnLst>
                                    <p:set>
                                      <p:cBhvr>
                                        <p:cTn id="53" dur="1" fill="hold">
                                          <p:stCondLst>
                                            <p:cond delay="0"/>
                                          </p:stCondLst>
                                        </p:cTn>
                                        <p:tgtEl>
                                          <p:spTgt spid="20"/>
                                        </p:tgtEl>
                                        <p:attrNameLst>
                                          <p:attrName>style.visibility</p:attrName>
                                        </p:attrNameLst>
                                      </p:cBhvr>
                                      <p:to>
                                        <p:strVal val="hidden"/>
                                      </p:to>
                                    </p:set>
                                  </p:childTnLst>
                                </p:cTn>
                              </p:par>
                              <p:par>
                                <p:cTn id="54" presetID="1" presetClass="entr" presetSubtype="0" fill="hold" nodeType="withEffect">
                                  <p:stCondLst>
                                    <p:cond delay="0"/>
                                  </p:stCondLst>
                                  <p:childTnLst>
                                    <p:set>
                                      <p:cBhvr>
                                        <p:cTn id="55"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P spid="2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DED4601D-B6B4-42F1-AF49-22AC28D56546}"/>
              </a:ext>
            </a:extLst>
          </p:cNvPr>
          <p:cNvSpPr/>
          <p:nvPr/>
        </p:nvSpPr>
        <p:spPr bwMode="auto">
          <a:xfrm>
            <a:off x="-1" y="0"/>
            <a:ext cx="12436476" cy="6858000"/>
          </a:xfrm>
          <a:prstGeom prst="ellipse">
            <a:avLst/>
          </a:prstGeom>
          <a:gradFill flip="none" rotWithShape="1">
            <a:gsLst>
              <a:gs pos="0">
                <a:srgbClr val="0078D3">
                  <a:lumMod val="50000"/>
                  <a:alpha val="9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99C204A1-0B4A-4957-8EF9-0838586F1FC3}"/>
              </a:ext>
            </a:extLst>
          </p:cNvPr>
          <p:cNvSpPr>
            <a:spLocks noGrp="1"/>
          </p:cNvSpPr>
          <p:nvPr>
            <p:ph type="title"/>
          </p:nvPr>
        </p:nvSpPr>
        <p:spPr/>
        <p:txBody>
          <a:bodyPr/>
          <a:lstStyle/>
          <a:p>
            <a:r>
              <a:rPr lang="en-US" dirty="0"/>
              <a:t>IoT Hub &amp; Device Provisioning Service Support </a:t>
            </a:r>
          </a:p>
        </p:txBody>
      </p:sp>
      <p:sp>
        <p:nvSpPr>
          <p:cNvPr id="5" name="TextBox 4">
            <a:extLst>
              <a:ext uri="{FF2B5EF4-FFF2-40B4-BE49-F238E27FC236}">
                <a16:creationId xmlns:a16="http://schemas.microsoft.com/office/drawing/2014/main" id="{36DDDBDC-718C-4F86-A827-45AB9BFD48F9}"/>
              </a:ext>
            </a:extLst>
          </p:cNvPr>
          <p:cNvSpPr txBox="1"/>
          <p:nvPr/>
        </p:nvSpPr>
        <p:spPr>
          <a:xfrm>
            <a:off x="7524750" y="1692642"/>
            <a:ext cx="4287891" cy="2819193"/>
          </a:xfrm>
          <a:prstGeom prst="rect">
            <a:avLst/>
          </a:prstGeom>
          <a:noFill/>
        </p:spPr>
        <p:txBody>
          <a:bodyPr wrap="square" lIns="182854" tIns="146284" rIns="182854" bIns="146284" rtlCol="0">
            <a:spAutoFit/>
          </a:bodyPr>
          <a:lstStyle/>
          <a:p>
            <a:pPr defTabSz="914367">
              <a:lnSpc>
                <a:spcPct val="90000"/>
              </a:lnSpc>
              <a:spcAft>
                <a:spcPts val="600"/>
              </a:spcAft>
            </a:pPr>
            <a:r>
              <a:rPr lang="en-US" sz="2000" dirty="0">
                <a:latin typeface="Segoe UI" panose="020B0502040204020203" pitchFamily="34" charset="0"/>
                <a:cs typeface="Segoe UI" panose="020B0502040204020203" pitchFamily="34" charset="0"/>
              </a:rPr>
              <a:t>Azure IoT Hub</a:t>
            </a:r>
          </a:p>
          <a:p>
            <a:pPr marL="342834" indent="-342834" defTabSz="914367">
              <a:lnSpc>
                <a:spcPct val="90000"/>
              </a:lnSpc>
              <a:spcAft>
                <a:spcPts val="600"/>
              </a:spcAft>
              <a:buFont typeface="Arial" panose="020B0604020202020204" pitchFamily="34" charset="0"/>
              <a:buChar char="•"/>
            </a:pPr>
            <a:r>
              <a:rPr lang="en-US" sz="2000" dirty="0">
                <a:latin typeface="Segoe UI" panose="020B0502040204020203" pitchFamily="34" charset="0"/>
                <a:cs typeface="Segoe UI" panose="020B0502040204020203" pitchFamily="34" charset="0"/>
              </a:rPr>
              <a:t>Easy upgrade from basic to standard tier.</a:t>
            </a:r>
          </a:p>
          <a:p>
            <a:pPr marL="342834" indent="-342834" defTabSz="914367">
              <a:lnSpc>
                <a:spcPct val="90000"/>
              </a:lnSpc>
              <a:spcAft>
                <a:spcPts val="600"/>
              </a:spcAft>
              <a:buFont typeface="Arial" panose="020B0604020202020204" pitchFamily="34" charset="0"/>
              <a:buChar char="•"/>
            </a:pPr>
            <a:r>
              <a:rPr lang="en-US" sz="2000" dirty="0">
                <a:latin typeface="Segoe UI" panose="020B0502040204020203" pitchFamily="34" charset="0"/>
                <a:cs typeface="Segoe UI" panose="020B0502040204020203" pitchFamily="34" charset="0"/>
              </a:rPr>
              <a:t>Only standard allows cloud-to-device commands, device twin operations and IoT Edge</a:t>
            </a:r>
          </a:p>
          <a:p>
            <a:pPr marL="342834" indent="-342834" defTabSz="914367">
              <a:lnSpc>
                <a:spcPct val="90000"/>
              </a:lnSpc>
              <a:spcAft>
                <a:spcPts val="600"/>
              </a:spcAft>
              <a:buFont typeface="Arial" panose="020B0604020202020204" pitchFamily="34" charset="0"/>
              <a:buChar char="•"/>
            </a:pPr>
            <a:endParaRPr lang="en-US" sz="2000" dirty="0">
              <a:latin typeface="Segoe UI" panose="020B0502040204020203" pitchFamily="34" charset="0"/>
              <a:cs typeface="Segoe UI" panose="020B0502040204020203" pitchFamily="34" charset="0"/>
            </a:endParaRPr>
          </a:p>
          <a:p>
            <a:pPr marL="342834" indent="-342834" defTabSz="914367">
              <a:lnSpc>
                <a:spcPct val="90000"/>
              </a:lnSpc>
              <a:spcAft>
                <a:spcPts val="600"/>
              </a:spcAft>
              <a:buFont typeface="Arial" panose="020B0604020202020204" pitchFamily="34" charset="0"/>
              <a:buChar char="•"/>
            </a:pPr>
            <a:r>
              <a:rPr lang="en-US" sz="2000" dirty="0">
                <a:solidFill>
                  <a:srgbClr val="00B0F0"/>
                </a:solidFill>
                <a:latin typeface="Segoe UI" panose="020B0502040204020203" pitchFamily="34" charset="0"/>
                <a:cs typeface="Segoe UI" panose="020B0502040204020203" pitchFamily="34" charset="0"/>
                <a:hlinkClick r:id="rId3">
                  <a:extLst>
                    <a:ext uri="{A12FA001-AC4F-418D-AE19-62706E023703}">
                      <ahyp:hlinkClr xmlns:ahyp="http://schemas.microsoft.com/office/drawing/2018/hyperlinkcolor" val="tx"/>
                    </a:ext>
                  </a:extLst>
                </a:hlinkClick>
              </a:rPr>
              <a:t>Learn about IoT Hub scaling</a:t>
            </a:r>
            <a:endParaRPr lang="en-US" sz="2000" dirty="0">
              <a:solidFill>
                <a:srgbClr val="00B0F0"/>
              </a:solidFill>
              <a:latin typeface="Segoe UI" panose="020B0502040204020203" pitchFamily="34" charset="0"/>
              <a:cs typeface="Segoe UI" panose="020B0502040204020203" pitchFamily="34" charset="0"/>
            </a:endParaRPr>
          </a:p>
        </p:txBody>
      </p:sp>
      <p:pic>
        <p:nvPicPr>
          <p:cNvPr id="6" name="Picture 5">
            <a:extLst>
              <a:ext uri="{FF2B5EF4-FFF2-40B4-BE49-F238E27FC236}">
                <a16:creationId xmlns:a16="http://schemas.microsoft.com/office/drawing/2014/main" id="{8650D1EA-0510-44E5-98A4-94D9A8AC0CE0}"/>
              </a:ext>
            </a:extLst>
          </p:cNvPr>
          <p:cNvPicPr>
            <a:picLocks noChangeAspect="1"/>
          </p:cNvPicPr>
          <p:nvPr/>
        </p:nvPicPr>
        <p:blipFill>
          <a:blip r:embed="rId4"/>
          <a:stretch>
            <a:fillRect/>
          </a:stretch>
        </p:blipFill>
        <p:spPr>
          <a:xfrm>
            <a:off x="495300" y="1254052"/>
            <a:ext cx="6923932" cy="3851222"/>
          </a:xfrm>
          <a:prstGeom prst="rect">
            <a:avLst/>
          </a:prstGeom>
        </p:spPr>
      </p:pic>
      <p:pic>
        <p:nvPicPr>
          <p:cNvPr id="7" name="Picture 6">
            <a:extLst>
              <a:ext uri="{FF2B5EF4-FFF2-40B4-BE49-F238E27FC236}">
                <a16:creationId xmlns:a16="http://schemas.microsoft.com/office/drawing/2014/main" id="{518283BE-C787-4A95-9012-8FB909916CE2}"/>
              </a:ext>
            </a:extLst>
          </p:cNvPr>
          <p:cNvPicPr>
            <a:picLocks noChangeAspect="1"/>
          </p:cNvPicPr>
          <p:nvPr/>
        </p:nvPicPr>
        <p:blipFill>
          <a:blip r:embed="rId5"/>
          <a:stretch>
            <a:fillRect/>
          </a:stretch>
        </p:blipFill>
        <p:spPr>
          <a:xfrm>
            <a:off x="495301" y="5306540"/>
            <a:ext cx="6923932" cy="1415176"/>
          </a:xfrm>
          <a:prstGeom prst="rect">
            <a:avLst/>
          </a:prstGeom>
        </p:spPr>
      </p:pic>
      <p:sp>
        <p:nvSpPr>
          <p:cNvPr id="9" name="TextBox 8">
            <a:extLst>
              <a:ext uri="{FF2B5EF4-FFF2-40B4-BE49-F238E27FC236}">
                <a16:creationId xmlns:a16="http://schemas.microsoft.com/office/drawing/2014/main" id="{4D49D03A-9EA4-49A1-855B-C19B303C8777}"/>
              </a:ext>
            </a:extLst>
          </p:cNvPr>
          <p:cNvSpPr txBox="1"/>
          <p:nvPr/>
        </p:nvSpPr>
        <p:spPr>
          <a:xfrm>
            <a:off x="7686675" y="5441704"/>
            <a:ext cx="4287891" cy="572424"/>
          </a:xfrm>
          <a:prstGeom prst="rect">
            <a:avLst/>
          </a:prstGeom>
          <a:noFill/>
        </p:spPr>
        <p:txBody>
          <a:bodyPr wrap="square" lIns="182854" tIns="146284" rIns="182854" bIns="146284" rtlCol="0">
            <a:spAutoFit/>
          </a:bodyPr>
          <a:lstStyle/>
          <a:p>
            <a:pPr defTabSz="914367">
              <a:lnSpc>
                <a:spcPct val="90000"/>
              </a:lnSpc>
              <a:spcAft>
                <a:spcPts val="600"/>
              </a:spcAft>
            </a:pPr>
            <a:r>
              <a:rPr lang="en-US" sz="2000" dirty="0">
                <a:latin typeface="Segoe UI" panose="020B0502040204020203" pitchFamily="34" charset="0"/>
                <a:cs typeface="Segoe UI" panose="020B0502040204020203" pitchFamily="34" charset="0"/>
              </a:rPr>
              <a:t>Device Provisioning Service</a:t>
            </a:r>
            <a:endParaRPr lang="en-US" sz="2000" dirty="0">
              <a:solidFill>
                <a:srgbClr val="00B0F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581665513"/>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022154-BB3B-4F39-8AA8-6E65C5EA422B}"/>
              </a:ext>
            </a:extLst>
          </p:cNvPr>
          <p:cNvSpPr>
            <a:spLocks noGrp="1"/>
          </p:cNvSpPr>
          <p:nvPr>
            <p:ph type="title"/>
          </p:nvPr>
        </p:nvSpPr>
        <p:spPr>
          <a:xfrm>
            <a:off x="589699" y="457201"/>
            <a:ext cx="11015651" cy="492443"/>
          </a:xfrm>
        </p:spPr>
        <p:txBody>
          <a:bodyPr/>
          <a:lstStyle/>
          <a:p>
            <a:r>
              <a:rPr lang="en-US" sz="3200"/>
              <a:t>Simplifying IoT with developer tools</a:t>
            </a:r>
          </a:p>
        </p:txBody>
      </p:sp>
      <p:sp>
        <p:nvSpPr>
          <p:cNvPr id="3" name="TextBox 2">
            <a:extLst>
              <a:ext uri="{FF2B5EF4-FFF2-40B4-BE49-F238E27FC236}">
                <a16:creationId xmlns:a16="http://schemas.microsoft.com/office/drawing/2014/main" id="{ABDFC5DA-3A20-42F4-8A44-6C1D75F06D65}"/>
              </a:ext>
            </a:extLst>
          </p:cNvPr>
          <p:cNvSpPr txBox="1"/>
          <p:nvPr/>
        </p:nvSpPr>
        <p:spPr>
          <a:xfrm>
            <a:off x="1511015" y="905814"/>
            <a:ext cx="3942108" cy="6862648"/>
          </a:xfrm>
          <a:prstGeom prst="rect">
            <a:avLst/>
          </a:prstGeom>
          <a:noFill/>
        </p:spPr>
        <p:txBody>
          <a:bodyPr wrap="square">
            <a:spAutoFit/>
          </a:bodyPr>
          <a:lstStyle/>
          <a:p>
            <a:pPr marL="0" marR="0" lvl="0" indent="0" algn="l" defTabSz="609443" rtl="0" eaLnBrk="1" fontAlgn="auto" latinLnBrk="0" hangingPunct="1">
              <a:lnSpc>
                <a:spcPct val="100000"/>
              </a:lnSpc>
              <a:spcBef>
                <a:spcPts val="0"/>
              </a:spcBef>
              <a:spcAft>
                <a:spcPts val="0"/>
              </a:spcAft>
              <a:buClrTx/>
              <a:buSzTx/>
              <a:buFontTx/>
              <a:buNone/>
              <a:tabLst/>
              <a:defRPr/>
            </a:pPr>
            <a:endParaRPr kumimoji="0" lang="en-US" sz="2399" b="0" i="0" u="sng" strike="noStrike" kern="1200" cap="none" spc="0" normalizeH="0" baseline="0" noProof="0" dirty="0">
              <a:ln>
                <a:noFill/>
              </a:ln>
              <a:solidFill>
                <a:srgbClr val="0070C0"/>
              </a:solidFill>
              <a:effectLst/>
              <a:uLnTx/>
              <a:uFillTx/>
              <a:latin typeface="Segoe UI Semibold" panose="020B0702040204020203" pitchFamily="34" charset="0"/>
              <a:ea typeface="+mn-ea"/>
              <a:cs typeface="+mn-cs"/>
            </a:endParaRPr>
          </a:p>
          <a:p>
            <a:pPr marL="0" marR="0" lvl="0" indent="0" algn="l" defTabSz="609443" rtl="0" eaLnBrk="1" fontAlgn="auto" latinLnBrk="0" hangingPunct="1">
              <a:lnSpc>
                <a:spcPct val="100000"/>
              </a:lnSpc>
              <a:spcBef>
                <a:spcPts val="0"/>
              </a:spcBef>
              <a:spcAft>
                <a:spcPts val="0"/>
              </a:spcAft>
              <a:buClrTx/>
              <a:buSzTx/>
              <a:buFontTx/>
              <a:buNone/>
              <a:tabLst/>
              <a:defRPr/>
            </a:pPr>
            <a:r>
              <a:rPr kumimoji="0" lang="en-US" sz="2399" b="0" i="0" u="none" strike="noStrike" kern="1200" cap="none" spc="0" normalizeH="0" baseline="0" noProof="0" dirty="0">
                <a:ln>
                  <a:noFill/>
                </a:ln>
                <a:solidFill>
                  <a:srgbClr val="50C7E8"/>
                </a:solidFill>
                <a:effectLst/>
                <a:uLnTx/>
                <a:uFillTx/>
                <a:latin typeface="Segoe UI Semibold" panose="020B0702040204020203" pitchFamily="34" charset="0"/>
                <a:ea typeface="+mn-ea"/>
                <a:cs typeface="+mn-cs"/>
              </a:rPr>
              <a:t>Azure IoT Explorer</a:t>
            </a:r>
          </a:p>
          <a:p>
            <a:pPr marL="342900" marR="0" lvl="0" indent="-342900" algn="l" defTabSz="6094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Graphical tool for interacting with and testing your IoT devices </a:t>
            </a:r>
          </a:p>
          <a:p>
            <a:pPr marL="0" marR="0" lvl="0" indent="0" algn="l" defTabSz="609443" rtl="0" eaLnBrk="1" fontAlgn="auto" latinLnBrk="0" hangingPunct="1">
              <a:lnSpc>
                <a:spcPct val="100000"/>
              </a:lnSpc>
              <a:spcBef>
                <a:spcPts val="0"/>
              </a:spcBef>
              <a:spcAft>
                <a:spcPts val="0"/>
              </a:spcAft>
              <a:buClrTx/>
              <a:buSzTx/>
              <a:buFontTx/>
              <a:buNone/>
              <a:tabLst/>
              <a:defRPr/>
            </a:pPr>
            <a:r>
              <a:rPr kumimoji="0" lang="en-US" sz="2399" b="0" i="0" u="none" strike="noStrike" kern="1200" cap="none" spc="0" normalizeH="0" baseline="0" noProof="0" dirty="0">
                <a:ln>
                  <a:noFill/>
                </a:ln>
                <a:solidFill>
                  <a:srgbClr val="50C7E8"/>
                </a:solidFill>
                <a:effectLst/>
                <a:uLnTx/>
                <a:uFillTx/>
                <a:latin typeface="Segoe UI Semibold" panose="020B0702040204020203" pitchFamily="34" charset="0"/>
                <a:ea typeface="+mn-ea"/>
                <a:cs typeface="+mn-cs"/>
              </a:rPr>
              <a:t>VS Code</a:t>
            </a:r>
          </a:p>
          <a:p>
            <a:pPr marL="342900" marR="0" lvl="0" indent="-342900" algn="l" defTabSz="6094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Azure IoT Tools Extension Pack</a:t>
            </a:r>
          </a:p>
          <a:p>
            <a:pPr marL="342900" marR="0" lvl="0" indent="-342900" algn="l" defTabSz="60944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endParaRPr>
          </a:p>
          <a:p>
            <a:pPr marL="0" marR="0" lvl="0" indent="0" algn="l" defTabSz="609443" rtl="0" eaLnBrk="1" fontAlgn="auto" latinLnBrk="0" hangingPunct="1">
              <a:lnSpc>
                <a:spcPct val="100000"/>
              </a:lnSpc>
              <a:spcBef>
                <a:spcPts val="0"/>
              </a:spcBef>
              <a:spcAft>
                <a:spcPts val="0"/>
              </a:spcAft>
              <a:buClrTx/>
              <a:buSzTx/>
              <a:buFontTx/>
              <a:buNone/>
              <a:tabLst/>
              <a:defRPr/>
            </a:pPr>
            <a:r>
              <a:rPr kumimoji="0" lang="en-US" sz="2399" b="0" i="0" u="none" strike="noStrike" kern="1200" cap="none" spc="0" normalizeH="0" baseline="0" noProof="0" dirty="0">
                <a:ln>
                  <a:noFill/>
                </a:ln>
                <a:solidFill>
                  <a:srgbClr val="50C7E8"/>
                </a:solidFill>
                <a:effectLst/>
                <a:uLnTx/>
                <a:uFillTx/>
                <a:latin typeface="Segoe UI Semibold" panose="020B0702040204020203" pitchFamily="34" charset="0"/>
                <a:ea typeface="+mn-ea"/>
                <a:cs typeface="+mn-cs"/>
              </a:rPr>
              <a:t>Visual Studio</a:t>
            </a:r>
          </a:p>
          <a:p>
            <a:pPr marL="342900" marR="0" lvl="0" indent="-342900" algn="l" defTabSz="6094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Azure IoT Hub &amp; IoT Edge Support</a:t>
            </a:r>
          </a:p>
          <a:p>
            <a:pPr marL="342900" marR="0" lvl="0" indent="-342900" algn="l" defTabSz="60944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endParaRPr>
          </a:p>
          <a:p>
            <a:pPr marL="0" marR="0" lvl="0" indent="0" algn="l" defTabSz="609443" rtl="0" eaLnBrk="1" fontAlgn="auto" latinLnBrk="0" hangingPunct="1">
              <a:lnSpc>
                <a:spcPct val="100000"/>
              </a:lnSpc>
              <a:spcBef>
                <a:spcPts val="0"/>
              </a:spcBef>
              <a:spcAft>
                <a:spcPts val="0"/>
              </a:spcAft>
              <a:buClrTx/>
              <a:buSzTx/>
              <a:buFontTx/>
              <a:buNone/>
              <a:tabLst/>
              <a:defRPr/>
            </a:pPr>
            <a:r>
              <a:rPr kumimoji="0" lang="en-US" sz="2399" b="0" i="0" u="none" strike="noStrike" kern="1200" cap="none" spc="0" normalizeH="0" baseline="0" noProof="0" dirty="0">
                <a:ln>
                  <a:noFill/>
                </a:ln>
                <a:solidFill>
                  <a:srgbClr val="50C7E8"/>
                </a:solidFill>
                <a:effectLst/>
                <a:uLnTx/>
                <a:uFillTx/>
                <a:latin typeface="Segoe UI Semibold" panose="020B0702040204020203" pitchFamily="34" charset="0"/>
                <a:ea typeface="+mn-ea"/>
                <a:cs typeface="+mn-cs"/>
              </a:rPr>
              <a:t>Azure IoT CLI extension</a:t>
            </a:r>
          </a:p>
          <a:p>
            <a:pPr marL="342900" marR="0" lvl="0" indent="-342900" algn="l" defTabSz="60944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Open-source cross platform command-line tool for managing Azure resources such as IoT Hub</a:t>
            </a:r>
          </a:p>
          <a:p>
            <a:pPr marL="0" marR="0" lvl="0" indent="0" algn="l" defTabSz="609443" rtl="0" eaLnBrk="1" fontAlgn="auto" latinLnBrk="0" hangingPunct="1">
              <a:lnSpc>
                <a:spcPct val="100000"/>
              </a:lnSpc>
              <a:spcBef>
                <a:spcPts val="0"/>
              </a:spcBef>
              <a:spcAft>
                <a:spcPts val="0"/>
              </a:spcAft>
              <a:buClrTx/>
              <a:buSzTx/>
              <a:buFontTx/>
              <a:buNone/>
              <a:tabLst/>
              <a:defRPr/>
            </a:pPr>
            <a:endPar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endParaRPr>
          </a:p>
          <a:p>
            <a:pPr marL="0" marR="0" lvl="0" indent="0" algn="l" defTabSz="609443" rtl="0" eaLnBrk="1" fontAlgn="auto" latinLnBrk="0" hangingPunct="1">
              <a:lnSpc>
                <a:spcPct val="100000"/>
              </a:lnSpc>
              <a:spcBef>
                <a:spcPts val="0"/>
              </a:spcBef>
              <a:spcAft>
                <a:spcPts val="0"/>
              </a:spcAft>
              <a:buClrTx/>
              <a:buSzTx/>
              <a:buFontTx/>
              <a:buNone/>
              <a:tabLst/>
              <a:defRPr/>
            </a:pPr>
            <a:endParaRPr kumimoji="0" lang="en-US" sz="2000" b="0" i="1" u="none" strike="noStrike" kern="1200" cap="none" spc="0" normalizeH="0" baseline="0" noProof="0" dirty="0">
              <a:ln>
                <a:noFill/>
              </a:ln>
              <a:solidFill>
                <a:srgbClr val="171717"/>
              </a:solidFill>
              <a:effectLst/>
              <a:uLnTx/>
              <a:uFillTx/>
              <a:latin typeface="Segoe UI" panose="020B0502040204020203" pitchFamily="34" charset="0"/>
              <a:ea typeface="+mn-ea"/>
              <a:cs typeface="+mn-cs"/>
            </a:endParaRPr>
          </a:p>
          <a:p>
            <a:pPr marL="0" marR="0" lvl="0" indent="0" algn="l" defTabSz="60944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609443" rtl="0" eaLnBrk="1" fontAlgn="auto" latinLnBrk="0" hangingPunct="1">
              <a:lnSpc>
                <a:spcPct val="100000"/>
              </a:lnSpc>
              <a:spcBef>
                <a:spcPts val="0"/>
              </a:spcBef>
              <a:spcAft>
                <a:spcPts val="0"/>
              </a:spcAft>
              <a:buClrTx/>
              <a:buSzTx/>
              <a:buFontTx/>
              <a:buNone/>
              <a:tabLst/>
              <a:defRPr/>
            </a:pPr>
            <a:r>
              <a:rPr kumimoji="0" lang="en-US" sz="1999" b="0" i="0" u="none" strike="noStrike" kern="1200" cap="none" spc="0" normalizeH="0" baseline="0" noProof="0" dirty="0">
                <a:ln>
                  <a:noFill/>
                </a:ln>
                <a:solidFill>
                  <a:srgbClr val="0070C0"/>
                </a:solidFill>
                <a:effectLst/>
                <a:uLnTx/>
                <a:uFillTx/>
                <a:latin typeface="Segoe UI Semibold" panose="020B0702040204020203" pitchFamily="34" charset="0"/>
                <a:ea typeface="+mn-ea"/>
                <a:cs typeface="+mn-cs"/>
              </a:rPr>
              <a:t>	</a:t>
            </a:r>
          </a:p>
        </p:txBody>
      </p:sp>
      <p:sp>
        <p:nvSpPr>
          <p:cNvPr id="10" name="TextBox 9">
            <a:extLst>
              <a:ext uri="{FF2B5EF4-FFF2-40B4-BE49-F238E27FC236}">
                <a16:creationId xmlns:a16="http://schemas.microsoft.com/office/drawing/2014/main" id="{EA576C40-A7A3-45F3-B975-04E16DE23C3E}"/>
              </a:ext>
            </a:extLst>
          </p:cNvPr>
          <p:cNvSpPr txBox="1"/>
          <p:nvPr/>
        </p:nvSpPr>
        <p:spPr>
          <a:xfrm>
            <a:off x="5900574" y="1259332"/>
            <a:ext cx="5329126" cy="1077090"/>
          </a:xfrm>
          <a:prstGeom prst="rect">
            <a:avLst/>
          </a:prstGeom>
          <a:noFill/>
        </p:spPr>
        <p:txBody>
          <a:bodyPr wrap="square">
            <a:spAutoFit/>
          </a:bodyPr>
          <a:lstStyle/>
          <a:p>
            <a:pPr marL="0" marR="0" lvl="0" indent="0" defTabSz="609443" rtl="0" eaLnBrk="1" fontAlgn="auto" latinLnBrk="0" hangingPunct="1">
              <a:lnSpc>
                <a:spcPct val="100000"/>
              </a:lnSpc>
              <a:spcBef>
                <a:spcPts val="0"/>
              </a:spcBef>
              <a:spcAft>
                <a:spcPts val="0"/>
              </a:spcAft>
              <a:buClrTx/>
              <a:buSzTx/>
              <a:buFontTx/>
              <a:buNone/>
              <a:tabLst/>
              <a:defRPr/>
            </a:pPr>
            <a:r>
              <a:rPr kumimoji="0" lang="en-US" sz="2399" b="0" i="0" u="none" strike="noStrike" kern="1200" cap="none" spc="0" normalizeH="0" baseline="0" noProof="0" dirty="0">
                <a:ln>
                  <a:noFill/>
                </a:ln>
                <a:solidFill>
                  <a:srgbClr val="50C7E8"/>
                </a:solidFill>
                <a:effectLst/>
                <a:uLnTx/>
                <a:uFillTx/>
                <a:latin typeface="Segoe UI Semibold" panose="020B0702040204020203" pitchFamily="34" charset="0"/>
                <a:ea typeface="+mn-ea"/>
                <a:cs typeface="+mn-cs"/>
              </a:rPr>
              <a:t>Vendor Tooling</a:t>
            </a:r>
          </a:p>
          <a:p>
            <a:pPr marL="0" marR="0" lvl="0" indent="0" defTabSz="609443"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50C7E8"/>
                </a:solidFill>
                <a:effectLst/>
                <a:uLnTx/>
                <a:uFillTx/>
                <a:latin typeface="Segoe UI Semibold" panose="020B0702040204020203" pitchFamily="34" charset="0"/>
                <a:ea typeface="+mn-ea"/>
                <a:cs typeface="+mn-cs"/>
              </a:rPr>
              <a:t>Samples with Azure RTOS, Embedded C SDK, IoT Plug and Play</a:t>
            </a:r>
          </a:p>
        </p:txBody>
      </p:sp>
      <p:pic>
        <p:nvPicPr>
          <p:cNvPr id="1026" name="Picture 2" descr="MPLAB X IDE Badge">
            <a:extLst>
              <a:ext uri="{FF2B5EF4-FFF2-40B4-BE49-F238E27FC236}">
                <a16:creationId xmlns:a16="http://schemas.microsoft.com/office/drawing/2014/main" id="{61C25743-5D92-4901-A01F-D6FE79B886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6932" y="2456356"/>
            <a:ext cx="1156638" cy="115663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Visual Studio Code">
            <a:extLst>
              <a:ext uri="{FF2B5EF4-FFF2-40B4-BE49-F238E27FC236}">
                <a16:creationId xmlns:a16="http://schemas.microsoft.com/office/drawing/2014/main" id="{382B76B9-3FEB-419F-B19C-D29200B6E1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1834" y="2406784"/>
            <a:ext cx="1022128" cy="102212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E2874FD4-C54B-4BD3-9FA1-735114D7FC60}"/>
              </a:ext>
            </a:extLst>
          </p:cNvPr>
          <p:cNvPicPr>
            <a:picLocks noChangeAspect="1"/>
          </p:cNvPicPr>
          <p:nvPr/>
        </p:nvPicPr>
        <p:blipFill>
          <a:blip r:embed="rId5"/>
          <a:stretch>
            <a:fillRect/>
          </a:stretch>
        </p:blipFill>
        <p:spPr>
          <a:xfrm>
            <a:off x="371367" y="1286016"/>
            <a:ext cx="860541" cy="761903"/>
          </a:xfrm>
          <a:prstGeom prst="rect">
            <a:avLst/>
          </a:prstGeom>
        </p:spPr>
      </p:pic>
      <p:pic>
        <p:nvPicPr>
          <p:cNvPr id="4" name="Picture 2" descr="See the source image">
            <a:extLst>
              <a:ext uri="{FF2B5EF4-FFF2-40B4-BE49-F238E27FC236}">
                <a16:creationId xmlns:a16="http://schemas.microsoft.com/office/drawing/2014/main" id="{3BB27F74-1133-4869-A6FA-518AF9305C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8539" y="3514992"/>
            <a:ext cx="1228718" cy="92153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MPLAB XC Compilers Badge">
            <a:extLst>
              <a:ext uri="{FF2B5EF4-FFF2-40B4-BE49-F238E27FC236}">
                <a16:creationId xmlns:a16="http://schemas.microsoft.com/office/drawing/2014/main" id="{36ABD393-8682-4F9A-B470-B0DA124E561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32230" y="3209134"/>
            <a:ext cx="1421882" cy="129746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AC6F57B7-092E-42BE-A81C-A62EB9C366E3}"/>
              </a:ext>
            </a:extLst>
          </p:cNvPr>
          <p:cNvPicPr>
            <a:picLocks noChangeAspect="1"/>
          </p:cNvPicPr>
          <p:nvPr/>
        </p:nvPicPr>
        <p:blipFill>
          <a:blip r:embed="rId8"/>
          <a:stretch>
            <a:fillRect/>
          </a:stretch>
        </p:blipFill>
        <p:spPr>
          <a:xfrm>
            <a:off x="7234737" y="3689704"/>
            <a:ext cx="1421882" cy="965111"/>
          </a:xfrm>
          <a:prstGeom prst="rect">
            <a:avLst/>
          </a:prstGeom>
        </p:spPr>
      </p:pic>
      <p:pic>
        <p:nvPicPr>
          <p:cNvPr id="15" name="Picture 14">
            <a:extLst>
              <a:ext uri="{FF2B5EF4-FFF2-40B4-BE49-F238E27FC236}">
                <a16:creationId xmlns:a16="http://schemas.microsoft.com/office/drawing/2014/main" id="{80E68328-4644-4424-B1C2-55F088C85532}"/>
              </a:ext>
            </a:extLst>
          </p:cNvPr>
          <p:cNvPicPr>
            <a:picLocks noChangeAspect="1"/>
          </p:cNvPicPr>
          <p:nvPr/>
        </p:nvPicPr>
        <p:blipFill>
          <a:blip r:embed="rId9"/>
          <a:stretch>
            <a:fillRect/>
          </a:stretch>
        </p:blipFill>
        <p:spPr>
          <a:xfrm>
            <a:off x="281834" y="4781411"/>
            <a:ext cx="1104900" cy="790575"/>
          </a:xfrm>
          <a:prstGeom prst="rect">
            <a:avLst/>
          </a:prstGeom>
        </p:spPr>
      </p:pic>
      <p:grpSp>
        <p:nvGrpSpPr>
          <p:cNvPr id="18" name="Group 17">
            <a:extLst>
              <a:ext uri="{FF2B5EF4-FFF2-40B4-BE49-F238E27FC236}">
                <a16:creationId xmlns:a16="http://schemas.microsoft.com/office/drawing/2014/main" id="{99A9EB65-7289-4D06-B8F6-41D6BEA5D3AD}"/>
              </a:ext>
            </a:extLst>
          </p:cNvPr>
          <p:cNvGrpSpPr/>
          <p:nvPr/>
        </p:nvGrpSpPr>
        <p:grpSpPr>
          <a:xfrm>
            <a:off x="8619693" y="2472684"/>
            <a:ext cx="3229740" cy="2280619"/>
            <a:chOff x="5142735" y="1148380"/>
            <a:chExt cx="7049265" cy="4561239"/>
          </a:xfrm>
        </p:grpSpPr>
        <p:pic>
          <p:nvPicPr>
            <p:cNvPr id="19" name="Picture 18" descr="A close up of a logo&#10;&#10;Description automatically generated">
              <a:extLst>
                <a:ext uri="{FF2B5EF4-FFF2-40B4-BE49-F238E27FC236}">
                  <a16:creationId xmlns:a16="http://schemas.microsoft.com/office/drawing/2014/main" id="{13BDEBE7-A79C-4108-B146-1C8578E4B834}"/>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66703" y="1167657"/>
              <a:ext cx="1872660" cy="415395"/>
            </a:xfrm>
            <a:prstGeom prst="rect">
              <a:avLst/>
            </a:prstGeom>
          </p:spPr>
        </p:pic>
        <p:pic>
          <p:nvPicPr>
            <p:cNvPr id="20" name="Picture 19" descr="A picture containing drawing&#10;&#10;Description automatically generated">
              <a:extLst>
                <a:ext uri="{FF2B5EF4-FFF2-40B4-BE49-F238E27FC236}">
                  <a16:creationId xmlns:a16="http://schemas.microsoft.com/office/drawing/2014/main" id="{9C0E6839-AA17-4331-BA68-9180206FD15B}"/>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b="40492"/>
            <a:stretch/>
          </p:blipFill>
          <p:spPr>
            <a:xfrm>
              <a:off x="5498494" y="2218856"/>
              <a:ext cx="1193482" cy="501890"/>
            </a:xfrm>
            <a:prstGeom prst="rect">
              <a:avLst/>
            </a:prstGeom>
          </p:spPr>
        </p:pic>
        <p:pic>
          <p:nvPicPr>
            <p:cNvPr id="21" name="Picture 20" descr="A picture containing drawing&#10;&#10;Description automatically generated">
              <a:extLst>
                <a:ext uri="{FF2B5EF4-FFF2-40B4-BE49-F238E27FC236}">
                  <a16:creationId xmlns:a16="http://schemas.microsoft.com/office/drawing/2014/main" id="{D5D9AB31-E766-4B4B-9FAD-E874F7F1AFF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580750" y="2042308"/>
              <a:ext cx="1604527" cy="854987"/>
            </a:xfrm>
            <a:prstGeom prst="rect">
              <a:avLst/>
            </a:prstGeom>
          </p:spPr>
        </p:pic>
        <p:pic>
          <p:nvPicPr>
            <p:cNvPr id="22" name="Picture 21" descr="IAR Systems">
              <a:extLst>
                <a:ext uri="{FF2B5EF4-FFF2-40B4-BE49-F238E27FC236}">
                  <a16:creationId xmlns:a16="http://schemas.microsoft.com/office/drawing/2014/main" id="{4D61D181-7FFB-4970-8F28-C901A23B1353}"/>
                </a:ext>
              </a:extLst>
            </p:cNvPr>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5301863" y="3545500"/>
              <a:ext cx="1586745" cy="110305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ARM Keil Microcontroller Tools – L-Tek">
              <a:extLst>
                <a:ext uri="{FF2B5EF4-FFF2-40B4-BE49-F238E27FC236}">
                  <a16:creationId xmlns:a16="http://schemas.microsoft.com/office/drawing/2014/main" id="{6D9871D0-8ECE-4CF7-9539-14F0E8C5EA05}"/>
                </a:ext>
              </a:extLst>
            </p:cNvPr>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7240319" y="3552343"/>
              <a:ext cx="2285388" cy="108936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Cortex-M3 processors">
              <a:extLst>
                <a:ext uri="{FF2B5EF4-FFF2-40B4-BE49-F238E27FC236}">
                  <a16:creationId xmlns:a16="http://schemas.microsoft.com/office/drawing/2014/main" id="{424AABEF-3BE5-48DA-8D3D-191E91646E91}"/>
                </a:ext>
              </a:extLst>
            </p:cNvPr>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a:off x="7603479" y="5015833"/>
              <a:ext cx="1559068" cy="69378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descr="A picture containing drawing&#10;&#10;Description automatically generated">
              <a:extLst>
                <a:ext uri="{FF2B5EF4-FFF2-40B4-BE49-F238E27FC236}">
                  <a16:creationId xmlns:a16="http://schemas.microsoft.com/office/drawing/2014/main" id="{56EA4D9D-60F0-47E3-B476-8820CAA832B1}"/>
                </a:ext>
              </a:extLst>
            </p:cNvPr>
            <p:cNvPicPr>
              <a:picLocks noChangeAspect="1"/>
            </p:cNvPicPr>
            <p:nvPr/>
          </p:nvPicPr>
          <p:blipFill rotWithShape="1">
            <a:blip r:embed="rId16">
              <a:extLst>
                <a:ext uri="{28A0092B-C50C-407E-A947-70E740481C1C}">
                  <a14:useLocalDpi xmlns:a14="http://schemas.microsoft.com/office/drawing/2010/main" val="0"/>
                </a:ext>
              </a:extLst>
            </a:blip>
            <a:srcRect l="10335" t="29526" r="11006" b="27371"/>
            <a:stretch/>
          </p:blipFill>
          <p:spPr>
            <a:xfrm>
              <a:off x="5921914" y="1148380"/>
              <a:ext cx="2149006" cy="449792"/>
            </a:xfrm>
            <a:prstGeom prst="rect">
              <a:avLst/>
            </a:prstGeom>
          </p:spPr>
        </p:pic>
        <p:pic>
          <p:nvPicPr>
            <p:cNvPr id="26" name="Picture 25" descr="Eclipse IDE">
              <a:extLst>
                <a:ext uri="{FF2B5EF4-FFF2-40B4-BE49-F238E27FC236}">
                  <a16:creationId xmlns:a16="http://schemas.microsoft.com/office/drawing/2014/main" id="{0D7EF26C-F49F-40FE-8268-3ACC926EE2C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903033" y="3858395"/>
              <a:ext cx="2045423" cy="47726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B2A94D53-7601-4D32-B9CF-3EA6F222AF97}"/>
                </a:ext>
              </a:extLst>
            </p:cNvPr>
            <p:cNvPicPr>
              <a:picLocks noChangeAspect="1"/>
            </p:cNvPicPr>
            <p:nvPr/>
          </p:nvPicPr>
          <p:blipFill>
            <a:blip r:embed="rId18"/>
            <a:stretch>
              <a:fillRect/>
            </a:stretch>
          </p:blipFill>
          <p:spPr>
            <a:xfrm>
              <a:off x="10238753" y="5263837"/>
              <a:ext cx="1373982" cy="197778"/>
            </a:xfrm>
            <a:prstGeom prst="rect">
              <a:avLst/>
            </a:prstGeom>
          </p:spPr>
        </p:pic>
        <p:pic>
          <p:nvPicPr>
            <p:cNvPr id="28" name="Picture 27" descr="A picture containing clock, meter&#10;&#10;Description generated with very high confidence">
              <a:extLst>
                <a:ext uri="{FF2B5EF4-FFF2-40B4-BE49-F238E27FC236}">
                  <a16:creationId xmlns:a16="http://schemas.microsoft.com/office/drawing/2014/main" id="{B2BB721D-3A35-4B81-BFF1-A91044BCB036}"/>
                </a:ext>
              </a:extLst>
            </p:cNvPr>
            <p:cNvPicPr>
              <a:picLocks noChangeAspect="1"/>
            </p:cNvPicPr>
            <p:nvPr/>
          </p:nvPicPr>
          <p:blipFill>
            <a:blip r:embed="rId19"/>
            <a:stretch>
              <a:fillRect/>
            </a:stretch>
          </p:blipFill>
          <p:spPr>
            <a:xfrm>
              <a:off x="5142735" y="5038281"/>
              <a:ext cx="1905001" cy="648891"/>
            </a:xfrm>
            <a:prstGeom prst="rect">
              <a:avLst/>
            </a:prstGeom>
          </p:spPr>
        </p:pic>
        <p:pic>
          <p:nvPicPr>
            <p:cNvPr id="29" name="Picture 28" descr="A picture containing light&#10;&#10;Description automatically generated">
              <a:extLst>
                <a:ext uri="{FF2B5EF4-FFF2-40B4-BE49-F238E27FC236}">
                  <a16:creationId xmlns:a16="http://schemas.microsoft.com/office/drawing/2014/main" id="{83F647F2-9836-4567-B3F3-1F9E3037FEB0}"/>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659487" y="2062787"/>
              <a:ext cx="2532513" cy="966960"/>
            </a:xfrm>
            <a:prstGeom prst="rect">
              <a:avLst/>
            </a:prstGeom>
          </p:spPr>
        </p:pic>
      </p:grpSp>
    </p:spTree>
    <p:extLst>
      <p:ext uri="{BB962C8B-B14F-4D97-AF65-F5344CB8AC3E}">
        <p14:creationId xmlns:p14="http://schemas.microsoft.com/office/powerpoint/2010/main" val="229351680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0" y="-386625"/>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72E3C13-FFE8-4014-BB88-7955570ABE76}"/>
              </a:ext>
            </a:extLst>
          </p:cNvPr>
          <p:cNvSpPr>
            <a:spLocks noGrp="1"/>
          </p:cNvSpPr>
          <p:nvPr>
            <p:ph type="title"/>
          </p:nvPr>
        </p:nvSpPr>
        <p:spPr>
          <a:xfrm>
            <a:off x="410838" y="422596"/>
            <a:ext cx="9263739" cy="548985"/>
          </a:xfrm>
        </p:spPr>
        <p:txBody>
          <a:bodyPr/>
          <a:lstStyle/>
          <a:p>
            <a:r>
              <a:rPr lang="en-US" sz="4400" dirty="0">
                <a:solidFill>
                  <a:schemeClr val="tx1"/>
                </a:solidFill>
              </a:rPr>
              <a:t>Build end to end IoT Solutions</a:t>
            </a:r>
            <a:endParaRPr lang="en-US" sz="4400" dirty="0">
              <a:gradFill>
                <a:gsLst>
                  <a:gs pos="0">
                    <a:schemeClr val="accent5"/>
                  </a:gs>
                  <a:gs pos="100000">
                    <a:schemeClr val="accent4"/>
                  </a:gs>
                </a:gsLst>
                <a:lin ang="2700000" scaled="1"/>
              </a:gradFill>
            </a:endParaRPr>
          </a:p>
        </p:txBody>
      </p:sp>
      <p:sp>
        <p:nvSpPr>
          <p:cNvPr id="4" name="Title 2">
            <a:extLst>
              <a:ext uri="{FF2B5EF4-FFF2-40B4-BE49-F238E27FC236}">
                <a16:creationId xmlns:a16="http://schemas.microsoft.com/office/drawing/2014/main" id="{29A868D5-116B-48F8-A7CB-9AFEF1E36C9D}"/>
              </a:ext>
            </a:extLst>
          </p:cNvPr>
          <p:cNvSpPr txBox="1">
            <a:spLocks/>
          </p:cNvSpPr>
          <p:nvPr/>
        </p:nvSpPr>
        <p:spPr>
          <a:xfrm>
            <a:off x="553778" y="1313239"/>
            <a:ext cx="6799522" cy="2811325"/>
          </a:xfrm>
          <a:prstGeom prst="rect">
            <a:avLst/>
          </a:prstGeom>
          <a:noFill/>
        </p:spPr>
        <p:txBody>
          <a:bodyPr vert="horz" wrap="square" lIns="0" tIns="0" rIns="0" bIns="0" rtlCol="0" anchor="t" anchorCtr="0">
            <a:noAutofit/>
          </a:bodyPr>
          <a:lstStyle>
            <a:lvl1pPr algn="l" defTabSz="914367" rtl="0" eaLnBrk="1" latinLnBrk="0" hangingPunct="1">
              <a:lnSpc>
                <a:spcPct val="90000"/>
              </a:lnSpc>
              <a:spcBef>
                <a:spcPct val="0"/>
              </a:spcBef>
              <a:buNone/>
              <a:defRPr lang="en-US" sz="4705" b="0" kern="1200" cap="none" spc="-49" baseline="0" dirty="0">
                <a:ln w="3175">
                  <a:noFill/>
                </a:ln>
                <a:gradFill>
                  <a:gsLst>
                    <a:gs pos="0">
                      <a:schemeClr val="tx1"/>
                    </a:gs>
                    <a:gs pos="100000">
                      <a:schemeClr val="tx1"/>
                    </a:gs>
                  </a:gsLst>
                  <a:lin ang="5400000" scaled="1"/>
                </a:gradFill>
                <a:effectLst/>
                <a:latin typeface="+mj-lt"/>
                <a:ea typeface="+mn-ea"/>
                <a:cs typeface="Segoe UI" pitchFamily="34" charset="0"/>
              </a:defRPr>
            </a:lvl1pPr>
          </a:lstStyle>
          <a:p>
            <a:pPr>
              <a:lnSpc>
                <a:spcPct val="150000"/>
              </a:lnSpc>
            </a:pPr>
            <a:r>
              <a:rPr lang="en-US" sz="2800" dirty="0">
                <a:gradFill>
                  <a:gsLst>
                    <a:gs pos="0">
                      <a:schemeClr val="accent5"/>
                    </a:gs>
                    <a:gs pos="100000">
                      <a:schemeClr val="accent4"/>
                    </a:gs>
                  </a:gsLst>
                  <a:lin ang="2700000" scaled="1"/>
                </a:gradFill>
              </a:rPr>
              <a:t>Transform your business with IoT</a:t>
            </a:r>
          </a:p>
          <a:p>
            <a:pPr>
              <a:lnSpc>
                <a:spcPct val="150000"/>
              </a:lnSpc>
            </a:pPr>
            <a:r>
              <a:rPr lang="en-US" sz="2800" dirty="0">
                <a:gradFill>
                  <a:gsLst>
                    <a:gs pos="0">
                      <a:schemeClr val="accent5"/>
                    </a:gs>
                    <a:gs pos="100000">
                      <a:schemeClr val="accent4"/>
                    </a:gs>
                  </a:gsLst>
                  <a:lin ang="2700000" scaled="1"/>
                </a:gradFill>
              </a:rPr>
              <a:t>Connect devices to the cloud</a:t>
            </a:r>
          </a:p>
          <a:p>
            <a:pPr>
              <a:lnSpc>
                <a:spcPct val="150000"/>
              </a:lnSpc>
            </a:pPr>
            <a:r>
              <a:rPr lang="en-US" sz="2800" dirty="0">
                <a:solidFill>
                  <a:schemeClr val="tx1"/>
                </a:solidFill>
              </a:rPr>
              <a:t>Provision devices at scale</a:t>
            </a:r>
          </a:p>
          <a:p>
            <a:pPr>
              <a:lnSpc>
                <a:spcPct val="150000"/>
              </a:lnSpc>
            </a:pPr>
            <a:r>
              <a:rPr lang="en-US" sz="2800" dirty="0">
                <a:gradFill>
                  <a:gsLst>
                    <a:gs pos="0">
                      <a:schemeClr val="accent5"/>
                    </a:gs>
                    <a:gs pos="100000">
                      <a:schemeClr val="accent4"/>
                    </a:gs>
                  </a:gsLst>
                  <a:lin ang="2700000" scaled="1"/>
                </a:gradFill>
              </a:rPr>
              <a:t>Understand IoT message processing, analytics, and business integration</a:t>
            </a:r>
          </a:p>
          <a:p>
            <a:pPr>
              <a:lnSpc>
                <a:spcPct val="150000"/>
              </a:lnSpc>
            </a:pPr>
            <a:r>
              <a:rPr lang="en-US" sz="2800" dirty="0">
                <a:gradFill>
                  <a:gsLst>
                    <a:gs pos="0">
                      <a:schemeClr val="accent5"/>
                    </a:gs>
                    <a:gs pos="100000">
                      <a:schemeClr val="accent4"/>
                    </a:gs>
                  </a:gsLst>
                  <a:lin ang="2700000" scaled="1"/>
                </a:gradFill>
              </a:rPr>
              <a:t>Build the intelligent edge</a:t>
            </a:r>
          </a:p>
          <a:p>
            <a:pPr>
              <a:lnSpc>
                <a:spcPct val="150000"/>
              </a:lnSpc>
            </a:pPr>
            <a:r>
              <a:rPr lang="en-US" sz="2800" dirty="0">
                <a:gradFill>
                  <a:gsLst>
                    <a:gs pos="0">
                      <a:schemeClr val="accent5"/>
                    </a:gs>
                    <a:gs pos="100000">
                      <a:schemeClr val="accent4"/>
                    </a:gs>
                  </a:gsLst>
                  <a:lin ang="2700000" scaled="1"/>
                </a:gradFill>
              </a:rPr>
              <a:t>Build IoT solutions with Azure IoT Central</a:t>
            </a:r>
          </a:p>
          <a:p>
            <a:pPr>
              <a:lnSpc>
                <a:spcPct val="150000"/>
              </a:lnSpc>
            </a:pPr>
            <a:endParaRPr lang="en-US" sz="2400" dirty="0">
              <a:gradFill>
                <a:gsLst>
                  <a:gs pos="0">
                    <a:schemeClr val="accent5"/>
                  </a:gs>
                  <a:gs pos="100000">
                    <a:schemeClr val="accent4"/>
                  </a:gs>
                </a:gsLst>
                <a:lin ang="2700000" scaled="1"/>
              </a:gradFill>
            </a:endParaRPr>
          </a:p>
        </p:txBody>
      </p:sp>
      <p:pic>
        <p:nvPicPr>
          <p:cNvPr id="2" name="Picture 1" descr="A picture containing clock, drawing&#10;&#10;Description automatically generated">
            <a:extLst>
              <a:ext uri="{FF2B5EF4-FFF2-40B4-BE49-F238E27FC236}">
                <a16:creationId xmlns:a16="http://schemas.microsoft.com/office/drawing/2014/main" id="{C8D41C2A-3006-4EA5-9CAB-ADD4EEFE835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83750" y="1818778"/>
            <a:ext cx="757917" cy="757917"/>
          </a:xfrm>
          <a:prstGeom prst="rect">
            <a:avLst/>
          </a:prstGeom>
        </p:spPr>
      </p:pic>
      <p:pic>
        <p:nvPicPr>
          <p:cNvPr id="8" name="Picture 7" descr="A close up of a logo&#10;&#10;Description automatically generated">
            <a:extLst>
              <a:ext uri="{FF2B5EF4-FFF2-40B4-BE49-F238E27FC236}">
                <a16:creationId xmlns:a16="http://schemas.microsoft.com/office/drawing/2014/main" id="{CBE35541-DFF5-42E8-BF5A-650203CC542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50687" y="1314865"/>
            <a:ext cx="759131" cy="757918"/>
          </a:xfrm>
          <a:prstGeom prst="rect">
            <a:avLst/>
          </a:prstGeom>
        </p:spPr>
      </p:pic>
      <p:pic>
        <p:nvPicPr>
          <p:cNvPr id="10" name="Picture 9" descr="A picture containing wheel&#10;&#10;Description automatically generated">
            <a:extLst>
              <a:ext uri="{FF2B5EF4-FFF2-40B4-BE49-F238E27FC236}">
                <a16:creationId xmlns:a16="http://schemas.microsoft.com/office/drawing/2014/main" id="{6B2E05D0-B6CD-4AE5-9C80-DB2D31E4E19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31731" y="2394033"/>
            <a:ext cx="778087" cy="776844"/>
          </a:xfrm>
          <a:prstGeom prst="rect">
            <a:avLst/>
          </a:prstGeom>
        </p:spPr>
      </p:pic>
      <p:pic>
        <p:nvPicPr>
          <p:cNvPr id="12" name="Picture 11" descr="A close up of a sign&#10;&#10;Description automatically generated">
            <a:extLst>
              <a:ext uri="{FF2B5EF4-FFF2-40B4-BE49-F238E27FC236}">
                <a16:creationId xmlns:a16="http://schemas.microsoft.com/office/drawing/2014/main" id="{80F3B8E5-C4D2-4E14-BC28-AA4700805C2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62708" y="3511826"/>
            <a:ext cx="715117" cy="715117"/>
          </a:xfrm>
          <a:prstGeom prst="rect">
            <a:avLst/>
          </a:prstGeom>
        </p:spPr>
      </p:pic>
      <p:pic>
        <p:nvPicPr>
          <p:cNvPr id="14" name="Picture 13" descr="A picture containing clock, light&#10;&#10;Description automatically generated">
            <a:extLst>
              <a:ext uri="{FF2B5EF4-FFF2-40B4-BE49-F238E27FC236}">
                <a16:creationId xmlns:a16="http://schemas.microsoft.com/office/drawing/2014/main" id="{30D99C75-B416-4C43-813D-0E6948F4851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58315" y="4498925"/>
            <a:ext cx="716262" cy="715118"/>
          </a:xfrm>
          <a:prstGeom prst="rect">
            <a:avLst/>
          </a:prstGeom>
        </p:spPr>
      </p:pic>
      <p:cxnSp>
        <p:nvCxnSpPr>
          <p:cNvPr id="16" name="Straight Connector 15">
            <a:extLst>
              <a:ext uri="{FF2B5EF4-FFF2-40B4-BE49-F238E27FC236}">
                <a16:creationId xmlns:a16="http://schemas.microsoft.com/office/drawing/2014/main" id="{E3B5E68A-14E5-4A7D-BD66-0CE07A663437}"/>
              </a:ext>
            </a:extLst>
          </p:cNvPr>
          <p:cNvCxnSpPr>
            <a:cxnSpLocks/>
          </p:cNvCxnSpPr>
          <p:nvPr/>
        </p:nvCxnSpPr>
        <p:spPr>
          <a:xfrm>
            <a:off x="553778" y="3265449"/>
            <a:ext cx="3980122"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08136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1.66667E-6 -3.7037E-7 L -1.66667E-6 0.01898 " pathEditMode="relative" rAng="0" ptsTypes="AA">
                                      <p:cBhvr>
                                        <p:cTn id="9" dur="700" spd="-100000" fill="hold"/>
                                        <p:tgtEl>
                                          <p:spTgt spid="3"/>
                                        </p:tgtEl>
                                        <p:attrNameLst>
                                          <p:attrName>ppt_x</p:attrName>
                                          <p:attrName>ppt_y</p:attrName>
                                        </p:attrNameLst>
                                      </p:cBhvr>
                                      <p:rCtr x="0" y="94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1.25E-6 3.7037E-6 L 1.25E-6 0.01898 " pathEditMode="relative" rAng="0" ptsTypes="AA">
                                      <p:cBhvr>
                                        <p:cTn id="14" dur="700" spd="-100000" fill="hold"/>
                                        <p:tgtEl>
                                          <p:spTgt spid="4"/>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4" grpId="0"/>
      <p:bldP spid="4" grpId="1"/>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72E3C13-FFE8-4014-BB88-7955570ABE76}"/>
              </a:ext>
            </a:extLst>
          </p:cNvPr>
          <p:cNvSpPr>
            <a:spLocks noGrp="1"/>
          </p:cNvSpPr>
          <p:nvPr>
            <p:ph type="title"/>
          </p:nvPr>
        </p:nvSpPr>
        <p:spPr>
          <a:xfrm>
            <a:off x="466154" y="553547"/>
            <a:ext cx="11360086" cy="1580053"/>
          </a:xfrm>
        </p:spPr>
        <p:txBody>
          <a:bodyPr/>
          <a:lstStyle/>
          <a:p>
            <a:r>
              <a:rPr lang="en-US" sz="4400" dirty="0">
                <a:gradFill>
                  <a:gsLst>
                    <a:gs pos="0">
                      <a:schemeClr val="accent5"/>
                    </a:gs>
                    <a:gs pos="100000">
                      <a:schemeClr val="accent4"/>
                    </a:gs>
                  </a:gsLst>
                  <a:lin ang="2700000" scaled="1"/>
                </a:gradFill>
              </a:rPr>
              <a:t>Demo: Cheese Cave </a:t>
            </a:r>
            <a:br>
              <a:rPr lang="en-US" sz="4400" dirty="0">
                <a:gradFill>
                  <a:gsLst>
                    <a:gs pos="0">
                      <a:schemeClr val="accent5"/>
                    </a:gs>
                    <a:gs pos="100000">
                      <a:schemeClr val="accent4"/>
                    </a:gs>
                  </a:gsLst>
                  <a:lin ang="2700000" scaled="1"/>
                </a:gradFill>
              </a:rPr>
            </a:br>
            <a:r>
              <a:rPr lang="en-US" sz="2800" dirty="0">
                <a:solidFill>
                  <a:schemeClr val="tx1"/>
                </a:solidFill>
              </a:rPr>
              <a:t>Provisioning devices to monitor and control temperature &amp; humidity</a:t>
            </a:r>
            <a:endParaRPr lang="en-US" sz="4400" dirty="0">
              <a:solidFill>
                <a:schemeClr val="tx1"/>
              </a:solidFill>
            </a:endParaRPr>
          </a:p>
        </p:txBody>
      </p:sp>
      <p:grpSp>
        <p:nvGrpSpPr>
          <p:cNvPr id="33" name="Group 32">
            <a:extLst>
              <a:ext uri="{FF2B5EF4-FFF2-40B4-BE49-F238E27FC236}">
                <a16:creationId xmlns:a16="http://schemas.microsoft.com/office/drawing/2014/main" id="{F732CC32-D6FC-4969-840C-88F9200A7D8B}"/>
              </a:ext>
            </a:extLst>
          </p:cNvPr>
          <p:cNvGrpSpPr/>
          <p:nvPr/>
        </p:nvGrpSpPr>
        <p:grpSpPr>
          <a:xfrm>
            <a:off x="2118201" y="3191443"/>
            <a:ext cx="4973897" cy="3040822"/>
            <a:chOff x="435432" y="2038965"/>
            <a:chExt cx="4973897" cy="3040822"/>
          </a:xfrm>
        </p:grpSpPr>
        <p:grpSp>
          <p:nvGrpSpPr>
            <p:cNvPr id="6" name="Group 5">
              <a:extLst>
                <a:ext uri="{FF2B5EF4-FFF2-40B4-BE49-F238E27FC236}">
                  <a16:creationId xmlns:a16="http://schemas.microsoft.com/office/drawing/2014/main" id="{8C6BB845-65C6-498D-93A1-D6D7ABA5B2FB}"/>
                </a:ext>
              </a:extLst>
            </p:cNvPr>
            <p:cNvGrpSpPr/>
            <p:nvPr/>
          </p:nvGrpSpPr>
          <p:grpSpPr>
            <a:xfrm>
              <a:off x="1121652" y="2642571"/>
              <a:ext cx="326931" cy="338042"/>
              <a:chOff x="1308100" y="3205163"/>
              <a:chExt cx="327025" cy="338138"/>
            </a:xfrm>
          </p:grpSpPr>
          <p:sp>
            <p:nvSpPr>
              <p:cNvPr id="7" name="Freeform 123">
                <a:extLst>
                  <a:ext uri="{FF2B5EF4-FFF2-40B4-BE49-F238E27FC236}">
                    <a16:creationId xmlns:a16="http://schemas.microsoft.com/office/drawing/2014/main" id="{077370ED-289A-483F-87DC-C502F8BBB45E}"/>
                  </a:ext>
                </a:extLst>
              </p:cNvPr>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defTabSz="914192"/>
                <a:endParaRPr lang="en-US" sz="1765">
                  <a:solidFill>
                    <a:prstClr val="black"/>
                  </a:solidFill>
                  <a:latin typeface="Segoe UI"/>
                </a:endParaRPr>
              </a:p>
            </p:txBody>
          </p:sp>
          <p:sp>
            <p:nvSpPr>
              <p:cNvPr id="8" name="Freeform 124">
                <a:extLst>
                  <a:ext uri="{FF2B5EF4-FFF2-40B4-BE49-F238E27FC236}">
                    <a16:creationId xmlns:a16="http://schemas.microsoft.com/office/drawing/2014/main" id="{E14688BD-8D65-4940-BDD5-F213769C8C5C}"/>
                  </a:ext>
                </a:extLst>
              </p:cNvPr>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defTabSz="914192"/>
                <a:endParaRPr lang="en-US" sz="1765">
                  <a:solidFill>
                    <a:prstClr val="black"/>
                  </a:solidFill>
                  <a:latin typeface="Segoe UI"/>
                </a:endParaRPr>
              </a:p>
            </p:txBody>
          </p:sp>
          <p:sp>
            <p:nvSpPr>
              <p:cNvPr id="9" name="Freeform 125">
                <a:extLst>
                  <a:ext uri="{FF2B5EF4-FFF2-40B4-BE49-F238E27FC236}">
                    <a16:creationId xmlns:a16="http://schemas.microsoft.com/office/drawing/2014/main" id="{2C24BE36-BBAA-4581-BB7A-8FB2234577E2}"/>
                  </a:ext>
                </a:extLst>
              </p:cNvPr>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defTabSz="914192"/>
                <a:endParaRPr lang="en-US" sz="1765">
                  <a:solidFill>
                    <a:prstClr val="black"/>
                  </a:solidFill>
                  <a:latin typeface="Segoe UI"/>
                </a:endParaRPr>
              </a:p>
            </p:txBody>
          </p:sp>
        </p:grpSp>
        <p:sp>
          <p:nvSpPr>
            <p:cNvPr id="10" name="TextBox 9">
              <a:extLst>
                <a:ext uri="{FF2B5EF4-FFF2-40B4-BE49-F238E27FC236}">
                  <a16:creationId xmlns:a16="http://schemas.microsoft.com/office/drawing/2014/main" id="{EEB83F37-39B7-4336-9D20-9649C9CAB24B}"/>
                </a:ext>
              </a:extLst>
            </p:cNvPr>
            <p:cNvSpPr txBox="1"/>
            <p:nvPr/>
          </p:nvSpPr>
          <p:spPr>
            <a:xfrm>
              <a:off x="435432" y="3017684"/>
              <a:ext cx="1545886" cy="2062103"/>
            </a:xfrm>
            <a:prstGeom prst="rect">
              <a:avLst/>
            </a:prstGeom>
          </p:spPr>
          <p:txBody>
            <a:bodyPr wrap="square" rtlCol="0">
              <a:spAutoFit/>
            </a:bodyPr>
            <a:lstStyle/>
            <a:p>
              <a:pPr algn="ctr" defTabSz="914192">
                <a:defRPr/>
              </a:pPr>
              <a:r>
                <a:rPr lang="en-US" sz="1600" u="sng" dirty="0">
                  <a:latin typeface="Segoe UI Semibold"/>
                </a:rPr>
                <a:t>IoT Devices </a:t>
              </a:r>
              <a:r>
                <a:rPr lang="en-US" sz="1600" i="1" dirty="0">
                  <a:latin typeface="Segoe UI Semibold"/>
                </a:rPr>
                <a:t>Adding devices to monitor Cheese Caves</a:t>
              </a:r>
            </a:p>
            <a:p>
              <a:pPr algn="ctr" defTabSz="914192">
                <a:defRPr/>
              </a:pPr>
              <a:r>
                <a:rPr lang="en-US" sz="1600" i="1" dirty="0">
                  <a:latin typeface="Segoe UI Semibold"/>
                </a:rPr>
                <a:t>across different factories</a:t>
              </a:r>
            </a:p>
          </p:txBody>
        </p:sp>
        <p:sp>
          <p:nvSpPr>
            <p:cNvPr id="11" name="chip" title="Icon of a computer chip">
              <a:extLst>
                <a:ext uri="{FF2B5EF4-FFF2-40B4-BE49-F238E27FC236}">
                  <a16:creationId xmlns:a16="http://schemas.microsoft.com/office/drawing/2014/main" id="{03395094-AB74-4531-913C-F84D95D63FCB}"/>
                </a:ext>
              </a:extLst>
            </p:cNvPr>
            <p:cNvSpPr>
              <a:spLocks noChangeAspect="1" noEditPoints="1"/>
            </p:cNvSpPr>
            <p:nvPr/>
          </p:nvSpPr>
          <p:spPr bwMode="auto">
            <a:xfrm>
              <a:off x="827087" y="2042359"/>
              <a:ext cx="373636" cy="381209"/>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dirty="0">
                <a:gradFill>
                  <a:gsLst>
                    <a:gs pos="0">
                      <a:srgbClr val="505050"/>
                    </a:gs>
                    <a:gs pos="100000">
                      <a:srgbClr val="505050"/>
                    </a:gs>
                  </a:gsLst>
                </a:gradFill>
                <a:latin typeface="Segoe UI"/>
              </a:endParaRPr>
            </a:p>
          </p:txBody>
        </p:sp>
        <p:sp>
          <p:nvSpPr>
            <p:cNvPr id="12" name="TextBox 11">
              <a:extLst>
                <a:ext uri="{FF2B5EF4-FFF2-40B4-BE49-F238E27FC236}">
                  <a16:creationId xmlns:a16="http://schemas.microsoft.com/office/drawing/2014/main" id="{543E0F1E-EBC1-4F71-8EDA-C458DE4F6284}"/>
                </a:ext>
              </a:extLst>
            </p:cNvPr>
            <p:cNvSpPr txBox="1"/>
            <p:nvPr/>
          </p:nvSpPr>
          <p:spPr>
            <a:xfrm>
              <a:off x="3403220" y="3019818"/>
              <a:ext cx="2006109" cy="343443"/>
            </a:xfrm>
            <a:prstGeom prst="rect">
              <a:avLst/>
            </a:prstGeom>
          </p:spPr>
          <p:txBody>
            <a:bodyPr wrap="square" rtlCol="0">
              <a:spAutoFit/>
            </a:bodyPr>
            <a:lstStyle/>
            <a:p>
              <a:pPr algn="ctr" defTabSz="914192">
                <a:defRPr/>
              </a:pPr>
              <a:r>
                <a:rPr lang="en-US" sz="1600" u="sng" dirty="0">
                  <a:latin typeface="Segoe UI Semibold"/>
                </a:rPr>
                <a:t>IoT Hub</a:t>
              </a:r>
            </a:p>
          </p:txBody>
        </p:sp>
        <p:pic>
          <p:nvPicPr>
            <p:cNvPr id="13" name="Picture 12" descr="A picture containing clock&#10;&#10;Description automatically generated">
              <a:extLst>
                <a:ext uri="{FF2B5EF4-FFF2-40B4-BE49-F238E27FC236}">
                  <a16:creationId xmlns:a16="http://schemas.microsoft.com/office/drawing/2014/main" id="{59CF27FC-C43E-4B84-8FA3-CC3335BD40A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16185" y="2038965"/>
              <a:ext cx="780180" cy="780180"/>
            </a:xfrm>
            <a:prstGeom prst="rect">
              <a:avLst/>
            </a:prstGeom>
          </p:spPr>
        </p:pic>
        <p:pic>
          <p:nvPicPr>
            <p:cNvPr id="14" name="Graphic 13">
              <a:extLst>
                <a:ext uri="{FF2B5EF4-FFF2-40B4-BE49-F238E27FC236}">
                  <a16:creationId xmlns:a16="http://schemas.microsoft.com/office/drawing/2014/main" id="{E78BB6FE-1AF1-488C-9740-1C12EBB898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396990" y="2097407"/>
              <a:ext cx="780180" cy="813178"/>
            </a:xfrm>
            <a:prstGeom prst="rect">
              <a:avLst/>
            </a:prstGeom>
          </p:spPr>
        </p:pic>
        <p:sp>
          <p:nvSpPr>
            <p:cNvPr id="15" name="TextBox 14">
              <a:extLst>
                <a:ext uri="{FF2B5EF4-FFF2-40B4-BE49-F238E27FC236}">
                  <a16:creationId xmlns:a16="http://schemas.microsoft.com/office/drawing/2014/main" id="{16FCF99F-54DE-481A-A60F-43C73ECEBBC2}"/>
                </a:ext>
              </a:extLst>
            </p:cNvPr>
            <p:cNvSpPr txBox="1"/>
            <p:nvPr/>
          </p:nvSpPr>
          <p:spPr>
            <a:xfrm>
              <a:off x="1761323" y="3057881"/>
              <a:ext cx="2006109" cy="830997"/>
            </a:xfrm>
            <a:prstGeom prst="rect">
              <a:avLst/>
            </a:prstGeom>
          </p:spPr>
          <p:txBody>
            <a:bodyPr wrap="square" rtlCol="0">
              <a:spAutoFit/>
            </a:bodyPr>
            <a:lstStyle/>
            <a:p>
              <a:pPr algn="ctr" defTabSz="914192">
                <a:defRPr/>
              </a:pPr>
              <a:r>
                <a:rPr lang="en-US" sz="1600" u="sng" dirty="0">
                  <a:latin typeface="Segoe UI Semibold"/>
                </a:rPr>
                <a:t>IoT Hub Device Provisioning Service</a:t>
              </a:r>
            </a:p>
          </p:txBody>
        </p:sp>
        <p:cxnSp>
          <p:nvCxnSpPr>
            <p:cNvPr id="16" name="Straight Arrow Connector 15">
              <a:extLst>
                <a:ext uri="{FF2B5EF4-FFF2-40B4-BE49-F238E27FC236}">
                  <a16:creationId xmlns:a16="http://schemas.microsoft.com/office/drawing/2014/main" id="{177E58D7-63FB-4303-AB29-FB7831E9184C}"/>
                </a:ext>
              </a:extLst>
            </p:cNvPr>
            <p:cNvCxnSpPr>
              <a:cxnSpLocks/>
            </p:cNvCxnSpPr>
            <p:nvPr/>
          </p:nvCxnSpPr>
          <p:spPr>
            <a:xfrm flipH="1">
              <a:off x="1778924" y="2499426"/>
              <a:ext cx="541347" cy="0"/>
            </a:xfrm>
            <a:prstGeom prst="straightConnector1">
              <a:avLst/>
            </a:prstGeom>
            <a:ln w="28575">
              <a:solidFill>
                <a:srgbClr val="1199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5ADEB0C0-D9BF-459C-8B42-DDF3BD95B651}"/>
                </a:ext>
              </a:extLst>
            </p:cNvPr>
            <p:cNvCxnSpPr>
              <a:cxnSpLocks/>
            </p:cNvCxnSpPr>
            <p:nvPr/>
          </p:nvCxnSpPr>
          <p:spPr>
            <a:xfrm flipH="1">
              <a:off x="3265152" y="2499426"/>
              <a:ext cx="670559" cy="0"/>
            </a:xfrm>
            <a:prstGeom prst="straightConnector1">
              <a:avLst/>
            </a:prstGeom>
            <a:ln w="28575">
              <a:solidFill>
                <a:srgbClr val="1199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0C6DADE2-3587-4E17-94C4-85B350ADAD33}"/>
              </a:ext>
            </a:extLst>
          </p:cNvPr>
          <p:cNvGrpSpPr/>
          <p:nvPr/>
        </p:nvGrpSpPr>
        <p:grpSpPr>
          <a:xfrm>
            <a:off x="-1" y="1926821"/>
            <a:ext cx="12105100" cy="807872"/>
            <a:chOff x="76016" y="1047480"/>
            <a:chExt cx="12105100" cy="807872"/>
          </a:xfrm>
        </p:grpSpPr>
        <p:sp>
          <p:nvSpPr>
            <p:cNvPr id="20" name="Arrow: Pentagon 19">
              <a:extLst>
                <a:ext uri="{FF2B5EF4-FFF2-40B4-BE49-F238E27FC236}">
                  <a16:creationId xmlns:a16="http://schemas.microsoft.com/office/drawing/2014/main" id="{1193AB41-94D9-47C5-AE4C-959B2265F496}"/>
                </a:ext>
              </a:extLst>
            </p:cNvPr>
            <p:cNvSpPr/>
            <p:nvPr/>
          </p:nvSpPr>
          <p:spPr bwMode="auto">
            <a:xfrm>
              <a:off x="8100147" y="1047480"/>
              <a:ext cx="4080969" cy="783368"/>
            </a:xfrm>
            <a:prstGeom prst="homePlat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Segoe UI Semibold"/>
              </a:endParaRPr>
            </a:p>
          </p:txBody>
        </p:sp>
        <p:sp>
          <p:nvSpPr>
            <p:cNvPr id="21" name="Arrow: Pentagon 20">
              <a:extLst>
                <a:ext uri="{FF2B5EF4-FFF2-40B4-BE49-F238E27FC236}">
                  <a16:creationId xmlns:a16="http://schemas.microsoft.com/office/drawing/2014/main" id="{919D053E-683A-4A45-A688-8EBBAB9447A6}"/>
                </a:ext>
              </a:extLst>
            </p:cNvPr>
            <p:cNvSpPr/>
            <p:nvPr/>
          </p:nvSpPr>
          <p:spPr bwMode="auto">
            <a:xfrm>
              <a:off x="3426501" y="1048827"/>
              <a:ext cx="5397770" cy="784006"/>
            </a:xfrm>
            <a:prstGeom prst="homePlat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Segoe UI Semibold"/>
              </a:endParaRPr>
            </a:p>
          </p:txBody>
        </p:sp>
        <p:sp>
          <p:nvSpPr>
            <p:cNvPr id="22" name="Arrow: Pentagon 21">
              <a:extLst>
                <a:ext uri="{FF2B5EF4-FFF2-40B4-BE49-F238E27FC236}">
                  <a16:creationId xmlns:a16="http://schemas.microsoft.com/office/drawing/2014/main" id="{AF6D561B-DF60-425C-9459-CE67F90AD438}"/>
                </a:ext>
              </a:extLst>
            </p:cNvPr>
            <p:cNvSpPr/>
            <p:nvPr/>
          </p:nvSpPr>
          <p:spPr bwMode="auto">
            <a:xfrm>
              <a:off x="76016" y="1048623"/>
              <a:ext cx="6944838" cy="806729"/>
            </a:xfrm>
            <a:prstGeom prst="homePlat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Segoe UI Semibold"/>
              </a:endParaRPr>
            </a:p>
          </p:txBody>
        </p:sp>
        <p:grpSp>
          <p:nvGrpSpPr>
            <p:cNvPr id="23" name="Group 22">
              <a:extLst>
                <a:ext uri="{FF2B5EF4-FFF2-40B4-BE49-F238E27FC236}">
                  <a16:creationId xmlns:a16="http://schemas.microsoft.com/office/drawing/2014/main" id="{98AB4055-0B3B-4A22-84BF-1D8C62D4703B}"/>
                </a:ext>
              </a:extLst>
            </p:cNvPr>
            <p:cNvGrpSpPr/>
            <p:nvPr/>
          </p:nvGrpSpPr>
          <p:grpSpPr>
            <a:xfrm>
              <a:off x="8673895" y="1100729"/>
              <a:ext cx="3320220" cy="636925"/>
              <a:chOff x="7922517" y="4588193"/>
              <a:chExt cx="2892514" cy="636925"/>
            </a:xfrm>
          </p:grpSpPr>
          <p:sp>
            <p:nvSpPr>
              <p:cNvPr id="30" name="TextBox 29">
                <a:extLst>
                  <a:ext uri="{FF2B5EF4-FFF2-40B4-BE49-F238E27FC236}">
                    <a16:creationId xmlns:a16="http://schemas.microsoft.com/office/drawing/2014/main" id="{6D750378-6485-46BC-99D2-7E0BD770BC67}"/>
                  </a:ext>
                </a:extLst>
              </p:cNvPr>
              <p:cNvSpPr txBox="1"/>
              <p:nvPr/>
            </p:nvSpPr>
            <p:spPr>
              <a:xfrm>
                <a:off x="8053522" y="4837704"/>
                <a:ext cx="2576970" cy="387414"/>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sym typeface="Segoe UI Semibold"/>
                  </a:rPr>
                  <a:t>Optimize operations, increase profitability, &amp; create more compelling business models</a:t>
                </a:r>
              </a:p>
            </p:txBody>
          </p:sp>
          <p:sp>
            <p:nvSpPr>
              <p:cNvPr id="31" name="TextBox 30">
                <a:extLst>
                  <a:ext uri="{FF2B5EF4-FFF2-40B4-BE49-F238E27FC236}">
                    <a16:creationId xmlns:a16="http://schemas.microsoft.com/office/drawing/2014/main" id="{A16734D5-1672-41A0-9DE5-71421B78E2CE}"/>
                  </a:ext>
                </a:extLst>
              </p:cNvPr>
              <p:cNvSpPr txBox="1"/>
              <p:nvPr/>
            </p:nvSpPr>
            <p:spPr>
              <a:xfrm>
                <a:off x="7922517" y="4588193"/>
                <a:ext cx="2892514" cy="207942"/>
              </a:xfrm>
              <a:prstGeom prst="rect">
                <a:avLst/>
              </a:prstGeom>
              <a:noFill/>
            </p:spPr>
            <p:txBody>
              <a:bodyPr wrap="square" lIns="0" tIns="0" rIns="0" bIns="0" rtlCol="0">
                <a:spAutoFit/>
              </a:bodyPr>
              <a:lstStyle/>
              <a:p>
                <a:pPr marL="0" marR="0" lvl="0" indent="0" algn="ctr" defTabSz="914400" rtl="0" eaLnBrk="1" fontAlgn="auto" latinLnBrk="0" hangingPunct="1">
                  <a:lnSpc>
                    <a:spcPts val="18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sym typeface="Segoe UI Semibold"/>
                  </a:rPr>
                  <a:t>ACTION</a:t>
                </a:r>
              </a:p>
            </p:txBody>
          </p:sp>
        </p:grpSp>
        <p:grpSp>
          <p:nvGrpSpPr>
            <p:cNvPr id="24" name="Group 23">
              <a:extLst>
                <a:ext uri="{FF2B5EF4-FFF2-40B4-BE49-F238E27FC236}">
                  <a16:creationId xmlns:a16="http://schemas.microsoft.com/office/drawing/2014/main" id="{FC0C5BA5-C0EB-4355-825D-1B7741283668}"/>
                </a:ext>
              </a:extLst>
            </p:cNvPr>
            <p:cNvGrpSpPr/>
            <p:nvPr/>
          </p:nvGrpSpPr>
          <p:grpSpPr>
            <a:xfrm>
              <a:off x="6876098" y="1099378"/>
              <a:ext cx="1800912" cy="581035"/>
              <a:chOff x="4109056" y="4589739"/>
              <a:chExt cx="1238812" cy="498583"/>
            </a:xfrm>
          </p:grpSpPr>
          <p:sp>
            <p:nvSpPr>
              <p:cNvPr id="28" name="TextBox 27">
                <a:extLst>
                  <a:ext uri="{FF2B5EF4-FFF2-40B4-BE49-F238E27FC236}">
                    <a16:creationId xmlns:a16="http://schemas.microsoft.com/office/drawing/2014/main" id="{39506AC9-C3A5-401E-AACE-9455A6323941}"/>
                  </a:ext>
                </a:extLst>
              </p:cNvPr>
              <p:cNvSpPr txBox="1"/>
              <p:nvPr/>
            </p:nvSpPr>
            <p:spPr>
              <a:xfrm>
                <a:off x="4109056" y="4755884"/>
                <a:ext cx="1238812" cy="332438"/>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sym typeface="Segoe UI Semibold"/>
                  </a:rPr>
                  <a:t>Identify patterns in data, automate rules &amp; alerts </a:t>
                </a:r>
              </a:p>
            </p:txBody>
          </p:sp>
          <p:sp>
            <p:nvSpPr>
              <p:cNvPr id="29" name="TextBox 28">
                <a:extLst>
                  <a:ext uri="{FF2B5EF4-FFF2-40B4-BE49-F238E27FC236}">
                    <a16:creationId xmlns:a16="http://schemas.microsoft.com/office/drawing/2014/main" id="{3230D1DB-5426-4125-9F05-1D47FB0ACBC9}"/>
                  </a:ext>
                </a:extLst>
              </p:cNvPr>
              <p:cNvSpPr txBox="1"/>
              <p:nvPr/>
            </p:nvSpPr>
            <p:spPr>
              <a:xfrm>
                <a:off x="4309929" y="4589739"/>
                <a:ext cx="612857" cy="178434"/>
              </a:xfrm>
              <a:prstGeom prst="rect">
                <a:avLst/>
              </a:prstGeom>
              <a:noFill/>
            </p:spPr>
            <p:txBody>
              <a:bodyPr wrap="square" lIns="0" tIns="0" rIns="0" bIns="0" rtlCol="0">
                <a:spAutoFit/>
              </a:bodyPr>
              <a:lstStyle/>
              <a:p>
                <a:pPr marL="0" marR="0" lvl="0" indent="0" algn="ctr" defTabSz="914400" rtl="0" eaLnBrk="1" fontAlgn="auto" latinLnBrk="0" hangingPunct="1">
                  <a:lnSpc>
                    <a:spcPts val="18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sym typeface="Segoe UI Semibold"/>
                  </a:rPr>
                  <a:t>INSIGHTS</a:t>
                </a:r>
              </a:p>
            </p:txBody>
          </p:sp>
        </p:grpSp>
        <p:grpSp>
          <p:nvGrpSpPr>
            <p:cNvPr id="25" name="Group 24">
              <a:extLst>
                <a:ext uri="{FF2B5EF4-FFF2-40B4-BE49-F238E27FC236}">
                  <a16:creationId xmlns:a16="http://schemas.microsoft.com/office/drawing/2014/main" id="{BF0B953B-CEF7-446F-A166-5DB07A1CA2E8}"/>
                </a:ext>
              </a:extLst>
            </p:cNvPr>
            <p:cNvGrpSpPr/>
            <p:nvPr/>
          </p:nvGrpSpPr>
          <p:grpSpPr>
            <a:xfrm>
              <a:off x="181188" y="1102030"/>
              <a:ext cx="3540081" cy="646116"/>
              <a:chOff x="2333581" y="4589739"/>
              <a:chExt cx="2589205" cy="657187"/>
            </a:xfrm>
          </p:grpSpPr>
          <p:sp>
            <p:nvSpPr>
              <p:cNvPr id="26" name="TextBox 25">
                <a:extLst>
                  <a:ext uri="{FF2B5EF4-FFF2-40B4-BE49-F238E27FC236}">
                    <a16:creationId xmlns:a16="http://schemas.microsoft.com/office/drawing/2014/main" id="{38039994-BA4A-4098-9C9A-56EC6A9F8468}"/>
                  </a:ext>
                </a:extLst>
              </p:cNvPr>
              <p:cNvSpPr txBox="1"/>
              <p:nvPr/>
            </p:nvSpPr>
            <p:spPr>
              <a:xfrm>
                <a:off x="2748028" y="4852874"/>
                <a:ext cx="1764975" cy="394052"/>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sym typeface="Segoe UI Semibold"/>
                  </a:rPr>
                  <a:t>Gain real time insights and improve business processes</a:t>
                </a:r>
              </a:p>
            </p:txBody>
          </p:sp>
          <p:sp>
            <p:nvSpPr>
              <p:cNvPr id="27" name="TextBox 26">
                <a:extLst>
                  <a:ext uri="{FF2B5EF4-FFF2-40B4-BE49-F238E27FC236}">
                    <a16:creationId xmlns:a16="http://schemas.microsoft.com/office/drawing/2014/main" id="{DDDDF47A-2F74-40DF-BCCE-BEB118E97059}"/>
                  </a:ext>
                </a:extLst>
              </p:cNvPr>
              <p:cNvSpPr txBox="1"/>
              <p:nvPr/>
            </p:nvSpPr>
            <p:spPr>
              <a:xfrm>
                <a:off x="2333581" y="4589739"/>
                <a:ext cx="2589205" cy="211505"/>
              </a:xfrm>
              <a:prstGeom prst="rect">
                <a:avLst/>
              </a:prstGeom>
              <a:noFill/>
            </p:spPr>
            <p:txBody>
              <a:bodyPr wrap="square" lIns="0" tIns="0" rIns="0" bIns="0" rtlCol="0">
                <a:spAutoFit/>
              </a:bodyPr>
              <a:lstStyle/>
              <a:p>
                <a:pPr marL="0" marR="0" lvl="0" indent="0" algn="ctr" defTabSz="914400" rtl="0" eaLnBrk="1" fontAlgn="auto" latinLnBrk="0" hangingPunct="1">
                  <a:lnSpc>
                    <a:spcPts val="18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sym typeface="Segoe UI Semibold"/>
                  </a:rPr>
                  <a:t>THINGS</a:t>
                </a:r>
              </a:p>
            </p:txBody>
          </p:sp>
        </p:grpSp>
      </p:grpSp>
      <p:pic>
        <p:nvPicPr>
          <p:cNvPr id="32" name="Picture 31">
            <a:extLst>
              <a:ext uri="{FF2B5EF4-FFF2-40B4-BE49-F238E27FC236}">
                <a16:creationId xmlns:a16="http://schemas.microsoft.com/office/drawing/2014/main" id="{F8AE51F2-702C-49C6-BA99-4CACA533082C}"/>
              </a:ext>
            </a:extLst>
          </p:cNvPr>
          <p:cNvPicPr>
            <a:picLocks noChangeAspect="1"/>
          </p:cNvPicPr>
          <p:nvPr/>
        </p:nvPicPr>
        <p:blipFill>
          <a:blip r:embed="rId6"/>
          <a:stretch>
            <a:fillRect/>
          </a:stretch>
        </p:blipFill>
        <p:spPr>
          <a:xfrm>
            <a:off x="217762" y="3191443"/>
            <a:ext cx="1900438" cy="1460622"/>
          </a:xfrm>
          <a:prstGeom prst="rect">
            <a:avLst/>
          </a:prstGeom>
          <a:ln w="38100">
            <a:solidFill>
              <a:srgbClr val="0078D4"/>
            </a:solidFill>
          </a:ln>
        </p:spPr>
      </p:pic>
      <p:pic>
        <p:nvPicPr>
          <p:cNvPr id="34" name="Google Shape;2206;p17">
            <a:extLst>
              <a:ext uri="{FF2B5EF4-FFF2-40B4-BE49-F238E27FC236}">
                <a16:creationId xmlns:a16="http://schemas.microsoft.com/office/drawing/2014/main" id="{88C330F4-3778-4A36-B48C-EEDA08F930E0}"/>
              </a:ext>
            </a:extLst>
          </p:cNvPr>
          <p:cNvPicPr preferRelativeResize="0"/>
          <p:nvPr/>
        </p:nvPicPr>
        <p:blipFill rotWithShape="1">
          <a:blip r:embed="rId7">
            <a:alphaModFix/>
          </a:blip>
          <a:srcRect/>
          <a:stretch/>
        </p:blipFill>
        <p:spPr>
          <a:xfrm>
            <a:off x="2306619" y="3624782"/>
            <a:ext cx="648395" cy="554909"/>
          </a:xfrm>
          <a:prstGeom prst="rect">
            <a:avLst/>
          </a:prstGeom>
          <a:noFill/>
          <a:ln>
            <a:noFill/>
          </a:ln>
        </p:spPr>
      </p:pic>
      <p:sp>
        <p:nvSpPr>
          <p:cNvPr id="36" name="chip" title="Icon of a computer chip">
            <a:extLst>
              <a:ext uri="{FF2B5EF4-FFF2-40B4-BE49-F238E27FC236}">
                <a16:creationId xmlns:a16="http://schemas.microsoft.com/office/drawing/2014/main" id="{ED2BD218-7A3E-4D76-9832-21DB3E7774AB}"/>
              </a:ext>
            </a:extLst>
          </p:cNvPr>
          <p:cNvSpPr>
            <a:spLocks noChangeAspect="1" noEditPoints="1"/>
          </p:cNvSpPr>
          <p:nvPr/>
        </p:nvSpPr>
        <p:spPr bwMode="auto">
          <a:xfrm>
            <a:off x="3021024" y="3194837"/>
            <a:ext cx="373636" cy="381209"/>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900" kern="0" dirty="0">
              <a:gradFill>
                <a:gsLst>
                  <a:gs pos="0">
                    <a:srgbClr val="505050"/>
                  </a:gs>
                  <a:gs pos="100000">
                    <a:srgbClr val="505050"/>
                  </a:gs>
                </a:gsLst>
              </a:gradFill>
              <a:latin typeface="Segoe UI"/>
            </a:endParaRPr>
          </a:p>
        </p:txBody>
      </p:sp>
      <p:pic>
        <p:nvPicPr>
          <p:cNvPr id="40" name="Google Shape;2206;p17">
            <a:extLst>
              <a:ext uri="{FF2B5EF4-FFF2-40B4-BE49-F238E27FC236}">
                <a16:creationId xmlns:a16="http://schemas.microsoft.com/office/drawing/2014/main" id="{CC02C85F-1063-4985-AB7F-192BD346F4BD}"/>
              </a:ext>
            </a:extLst>
          </p:cNvPr>
          <p:cNvPicPr preferRelativeResize="0"/>
          <p:nvPr/>
        </p:nvPicPr>
        <p:blipFill rotWithShape="1">
          <a:blip r:embed="rId7">
            <a:alphaModFix/>
          </a:blip>
          <a:srcRect/>
          <a:stretch/>
        </p:blipFill>
        <p:spPr>
          <a:xfrm>
            <a:off x="2996857" y="3635351"/>
            <a:ext cx="648395" cy="554909"/>
          </a:xfrm>
          <a:prstGeom prst="rect">
            <a:avLst/>
          </a:prstGeom>
          <a:noFill/>
          <a:ln>
            <a:noFill/>
          </a:ln>
        </p:spPr>
      </p:pic>
      <p:grpSp>
        <p:nvGrpSpPr>
          <p:cNvPr id="53" name="Group 52">
            <a:extLst>
              <a:ext uri="{FF2B5EF4-FFF2-40B4-BE49-F238E27FC236}">
                <a16:creationId xmlns:a16="http://schemas.microsoft.com/office/drawing/2014/main" id="{C7D016C8-0222-4525-B2E5-F0398099D658}"/>
              </a:ext>
            </a:extLst>
          </p:cNvPr>
          <p:cNvGrpSpPr/>
          <p:nvPr/>
        </p:nvGrpSpPr>
        <p:grpSpPr>
          <a:xfrm>
            <a:off x="9294596" y="3305765"/>
            <a:ext cx="2077752" cy="846938"/>
            <a:chOff x="7164885" y="3900913"/>
            <a:chExt cx="2119415" cy="863921"/>
          </a:xfrm>
        </p:grpSpPr>
        <p:sp>
          <p:nvSpPr>
            <p:cNvPr id="54" name="Oval 53">
              <a:extLst>
                <a:ext uri="{FF2B5EF4-FFF2-40B4-BE49-F238E27FC236}">
                  <a16:creationId xmlns:a16="http://schemas.microsoft.com/office/drawing/2014/main" id="{FEC31AD9-8860-4040-B853-EAB4E7BC3AB0}"/>
                </a:ext>
              </a:extLst>
            </p:cNvPr>
            <p:cNvSpPr/>
            <p:nvPr/>
          </p:nvSpPr>
          <p:spPr bwMode="auto">
            <a:xfrm>
              <a:off x="7164885" y="4423871"/>
              <a:ext cx="2119415" cy="340963"/>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cs typeface="Segoe UI" pitchFamily="34" charset="0"/>
              </a:endParaRPr>
            </a:p>
          </p:txBody>
        </p:sp>
        <p:grpSp>
          <p:nvGrpSpPr>
            <p:cNvPr id="55" name="Group 54">
              <a:extLst>
                <a:ext uri="{FF2B5EF4-FFF2-40B4-BE49-F238E27FC236}">
                  <a16:creationId xmlns:a16="http://schemas.microsoft.com/office/drawing/2014/main" id="{715EFCA7-0C9C-495A-B5F2-C17147893095}"/>
                </a:ext>
              </a:extLst>
            </p:cNvPr>
            <p:cNvGrpSpPr/>
            <p:nvPr/>
          </p:nvGrpSpPr>
          <p:grpSpPr>
            <a:xfrm>
              <a:off x="7217081" y="3900913"/>
              <a:ext cx="1548757" cy="655191"/>
              <a:chOff x="7521253" y="4376819"/>
              <a:chExt cx="1548757" cy="655191"/>
            </a:xfrm>
          </p:grpSpPr>
          <p:grpSp>
            <p:nvGrpSpPr>
              <p:cNvPr id="56" name="laptop" descr=" laptop, data">
                <a:extLst>
                  <a:ext uri="{FF2B5EF4-FFF2-40B4-BE49-F238E27FC236}">
                    <a16:creationId xmlns:a16="http://schemas.microsoft.com/office/drawing/2014/main" id="{E4345E06-C615-48D2-AEC5-B9E04EF4872C}"/>
                  </a:ext>
                </a:extLst>
              </p:cNvPr>
              <p:cNvGrpSpPr/>
              <p:nvPr/>
            </p:nvGrpSpPr>
            <p:grpSpPr>
              <a:xfrm>
                <a:off x="7996068" y="4376819"/>
                <a:ext cx="1073942" cy="655191"/>
                <a:chOff x="615531" y="1287780"/>
                <a:chExt cx="547784" cy="334192"/>
              </a:xfrm>
            </p:grpSpPr>
            <p:sp>
              <p:nvSpPr>
                <p:cNvPr id="60" name="Rectangle 5">
                  <a:extLst>
                    <a:ext uri="{FF2B5EF4-FFF2-40B4-BE49-F238E27FC236}">
                      <a16:creationId xmlns:a16="http://schemas.microsoft.com/office/drawing/2014/main" id="{85724ABD-CB0D-459A-92BD-E54BBB7E28D2}"/>
                    </a:ext>
                  </a:extLst>
                </p:cNvPr>
                <p:cNvSpPr>
                  <a:spLocks noChangeArrowheads="1"/>
                </p:cNvSpPr>
                <p:nvPr/>
              </p:nvSpPr>
              <p:spPr bwMode="auto">
                <a:xfrm>
                  <a:off x="669292" y="1303763"/>
                  <a:ext cx="441714" cy="283337"/>
                </a:xfrm>
                <a:prstGeom prst="rect">
                  <a:avLst/>
                </a:prstGeom>
                <a:solidFill>
                  <a:srgbClr val="0078D4"/>
                </a:solidFill>
                <a:ln w="9525">
                  <a:noFill/>
                  <a:miter lim="800000"/>
                  <a:headEnd/>
                  <a:tailEnd/>
                </a:ln>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61" name="Rectangle 6">
                  <a:extLst>
                    <a:ext uri="{FF2B5EF4-FFF2-40B4-BE49-F238E27FC236}">
                      <a16:creationId xmlns:a16="http://schemas.microsoft.com/office/drawing/2014/main" id="{26E1809A-F740-42B4-A22A-BD4CBAE38059}"/>
                    </a:ext>
                  </a:extLst>
                </p:cNvPr>
                <p:cNvSpPr>
                  <a:spLocks noChangeArrowheads="1"/>
                </p:cNvSpPr>
                <p:nvPr/>
              </p:nvSpPr>
              <p:spPr bwMode="auto">
                <a:xfrm>
                  <a:off x="974424" y="1370601"/>
                  <a:ext cx="91540" cy="10171"/>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62" name="Rectangle 7">
                  <a:extLst>
                    <a:ext uri="{FF2B5EF4-FFF2-40B4-BE49-F238E27FC236}">
                      <a16:creationId xmlns:a16="http://schemas.microsoft.com/office/drawing/2014/main" id="{CD0BCE5B-270D-42BD-9C36-880A8B9AAE14}"/>
                    </a:ext>
                  </a:extLst>
                </p:cNvPr>
                <p:cNvSpPr>
                  <a:spLocks noChangeArrowheads="1"/>
                </p:cNvSpPr>
                <p:nvPr/>
              </p:nvSpPr>
              <p:spPr bwMode="auto">
                <a:xfrm>
                  <a:off x="974424" y="1438893"/>
                  <a:ext cx="91540" cy="10171"/>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63" name="Rectangle 8">
                  <a:extLst>
                    <a:ext uri="{FF2B5EF4-FFF2-40B4-BE49-F238E27FC236}">
                      <a16:creationId xmlns:a16="http://schemas.microsoft.com/office/drawing/2014/main" id="{90BC65B8-4FB1-46E9-A105-D47F5C718F4D}"/>
                    </a:ext>
                  </a:extLst>
                </p:cNvPr>
                <p:cNvSpPr>
                  <a:spLocks noChangeArrowheads="1"/>
                </p:cNvSpPr>
                <p:nvPr/>
              </p:nvSpPr>
              <p:spPr bwMode="auto">
                <a:xfrm>
                  <a:off x="974424" y="1510090"/>
                  <a:ext cx="91540" cy="10171"/>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64" name="Freeform 9">
                  <a:extLst>
                    <a:ext uri="{FF2B5EF4-FFF2-40B4-BE49-F238E27FC236}">
                      <a16:creationId xmlns:a16="http://schemas.microsoft.com/office/drawing/2014/main" id="{BC8B39AD-A2D0-4466-90F9-F3262568B276}"/>
                    </a:ext>
                  </a:extLst>
                </p:cNvPr>
                <p:cNvSpPr>
                  <a:spLocks/>
                </p:cNvSpPr>
                <p:nvPr/>
              </p:nvSpPr>
              <p:spPr bwMode="auto">
                <a:xfrm>
                  <a:off x="887243" y="1357524"/>
                  <a:ext cx="59573" cy="46496"/>
                </a:xfrm>
                <a:custGeom>
                  <a:avLst/>
                  <a:gdLst>
                    <a:gd name="T0" fmla="*/ 13 w 41"/>
                    <a:gd name="T1" fmla="*/ 32 h 32"/>
                    <a:gd name="T2" fmla="*/ 0 w 41"/>
                    <a:gd name="T3" fmla="*/ 19 h 32"/>
                    <a:gd name="T4" fmla="*/ 4 w 41"/>
                    <a:gd name="T5" fmla="*/ 14 h 32"/>
                    <a:gd name="T6" fmla="*/ 13 w 41"/>
                    <a:gd name="T7" fmla="*/ 23 h 32"/>
                    <a:gd name="T8" fmla="*/ 36 w 41"/>
                    <a:gd name="T9" fmla="*/ 0 h 32"/>
                    <a:gd name="T10" fmla="*/ 41 w 41"/>
                    <a:gd name="T11" fmla="*/ 4 h 32"/>
                    <a:gd name="T12" fmla="*/ 13 w 41"/>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1" h="32">
                      <a:moveTo>
                        <a:pt x="13" y="32"/>
                      </a:moveTo>
                      <a:lnTo>
                        <a:pt x="0" y="19"/>
                      </a:lnTo>
                      <a:lnTo>
                        <a:pt x="4" y="14"/>
                      </a:lnTo>
                      <a:lnTo>
                        <a:pt x="13" y="23"/>
                      </a:lnTo>
                      <a:lnTo>
                        <a:pt x="36" y="0"/>
                      </a:lnTo>
                      <a:lnTo>
                        <a:pt x="41" y="4"/>
                      </a:lnTo>
                      <a:lnTo>
                        <a:pt x="13"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65" name="Freeform 10">
                  <a:extLst>
                    <a:ext uri="{FF2B5EF4-FFF2-40B4-BE49-F238E27FC236}">
                      <a16:creationId xmlns:a16="http://schemas.microsoft.com/office/drawing/2014/main" id="{1E4E401F-0043-4EAE-9640-2EBEDBE1F1DE}"/>
                    </a:ext>
                  </a:extLst>
                </p:cNvPr>
                <p:cNvSpPr>
                  <a:spLocks/>
                </p:cNvSpPr>
                <p:nvPr/>
              </p:nvSpPr>
              <p:spPr bwMode="auto">
                <a:xfrm>
                  <a:off x="887243" y="1422910"/>
                  <a:ext cx="59573" cy="46496"/>
                </a:xfrm>
                <a:custGeom>
                  <a:avLst/>
                  <a:gdLst>
                    <a:gd name="T0" fmla="*/ 13 w 41"/>
                    <a:gd name="T1" fmla="*/ 32 h 32"/>
                    <a:gd name="T2" fmla="*/ 0 w 41"/>
                    <a:gd name="T3" fmla="*/ 18 h 32"/>
                    <a:gd name="T4" fmla="*/ 4 w 41"/>
                    <a:gd name="T5" fmla="*/ 14 h 32"/>
                    <a:gd name="T6" fmla="*/ 13 w 41"/>
                    <a:gd name="T7" fmla="*/ 23 h 32"/>
                    <a:gd name="T8" fmla="*/ 36 w 41"/>
                    <a:gd name="T9" fmla="*/ 0 h 32"/>
                    <a:gd name="T10" fmla="*/ 41 w 41"/>
                    <a:gd name="T11" fmla="*/ 4 h 32"/>
                    <a:gd name="T12" fmla="*/ 13 w 41"/>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1" h="32">
                      <a:moveTo>
                        <a:pt x="13" y="32"/>
                      </a:moveTo>
                      <a:lnTo>
                        <a:pt x="0" y="18"/>
                      </a:lnTo>
                      <a:lnTo>
                        <a:pt x="4" y="14"/>
                      </a:lnTo>
                      <a:lnTo>
                        <a:pt x="13" y="23"/>
                      </a:lnTo>
                      <a:lnTo>
                        <a:pt x="36" y="0"/>
                      </a:lnTo>
                      <a:lnTo>
                        <a:pt x="41" y="4"/>
                      </a:lnTo>
                      <a:lnTo>
                        <a:pt x="13"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66" name="Freeform 11">
                  <a:extLst>
                    <a:ext uri="{FF2B5EF4-FFF2-40B4-BE49-F238E27FC236}">
                      <a16:creationId xmlns:a16="http://schemas.microsoft.com/office/drawing/2014/main" id="{DBB536C9-0E88-488A-A616-11941915F78E}"/>
                    </a:ext>
                  </a:extLst>
                </p:cNvPr>
                <p:cNvSpPr>
                  <a:spLocks/>
                </p:cNvSpPr>
                <p:nvPr/>
              </p:nvSpPr>
              <p:spPr bwMode="auto">
                <a:xfrm>
                  <a:off x="887243" y="1488295"/>
                  <a:ext cx="59573" cy="45043"/>
                </a:xfrm>
                <a:custGeom>
                  <a:avLst/>
                  <a:gdLst>
                    <a:gd name="T0" fmla="*/ 13 w 41"/>
                    <a:gd name="T1" fmla="*/ 31 h 31"/>
                    <a:gd name="T2" fmla="*/ 0 w 41"/>
                    <a:gd name="T3" fmla="*/ 18 h 31"/>
                    <a:gd name="T4" fmla="*/ 4 w 41"/>
                    <a:gd name="T5" fmla="*/ 14 h 31"/>
                    <a:gd name="T6" fmla="*/ 13 w 41"/>
                    <a:gd name="T7" fmla="*/ 23 h 31"/>
                    <a:gd name="T8" fmla="*/ 36 w 41"/>
                    <a:gd name="T9" fmla="*/ 0 h 31"/>
                    <a:gd name="T10" fmla="*/ 41 w 41"/>
                    <a:gd name="T11" fmla="*/ 4 h 31"/>
                    <a:gd name="T12" fmla="*/ 13 w 41"/>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41" h="31">
                      <a:moveTo>
                        <a:pt x="13" y="31"/>
                      </a:moveTo>
                      <a:lnTo>
                        <a:pt x="0" y="18"/>
                      </a:lnTo>
                      <a:lnTo>
                        <a:pt x="4" y="14"/>
                      </a:lnTo>
                      <a:lnTo>
                        <a:pt x="13" y="23"/>
                      </a:lnTo>
                      <a:lnTo>
                        <a:pt x="36" y="0"/>
                      </a:lnTo>
                      <a:lnTo>
                        <a:pt x="41" y="4"/>
                      </a:lnTo>
                      <a:lnTo>
                        <a:pt x="1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67" name="Freeform 12">
                  <a:extLst>
                    <a:ext uri="{FF2B5EF4-FFF2-40B4-BE49-F238E27FC236}">
                      <a16:creationId xmlns:a16="http://schemas.microsoft.com/office/drawing/2014/main" id="{2EDC3881-DB7D-416C-8CE2-972B292E0051}"/>
                    </a:ext>
                  </a:extLst>
                </p:cNvPr>
                <p:cNvSpPr>
                  <a:spLocks noEditPoints="1"/>
                </p:cNvSpPr>
                <p:nvPr/>
              </p:nvSpPr>
              <p:spPr bwMode="auto">
                <a:xfrm>
                  <a:off x="657668" y="1287780"/>
                  <a:ext cx="466416" cy="316756"/>
                </a:xfrm>
                <a:custGeom>
                  <a:avLst/>
                  <a:gdLst>
                    <a:gd name="T0" fmla="*/ 521 w 542"/>
                    <a:gd name="T1" fmla="*/ 0 h 368"/>
                    <a:gd name="T2" fmla="*/ 21 w 542"/>
                    <a:gd name="T3" fmla="*/ 0 h 368"/>
                    <a:gd name="T4" fmla="*/ 0 w 542"/>
                    <a:gd name="T5" fmla="*/ 21 h 368"/>
                    <a:gd name="T6" fmla="*/ 0 w 542"/>
                    <a:gd name="T7" fmla="*/ 368 h 368"/>
                    <a:gd name="T8" fmla="*/ 542 w 542"/>
                    <a:gd name="T9" fmla="*/ 368 h 368"/>
                    <a:gd name="T10" fmla="*/ 542 w 542"/>
                    <a:gd name="T11" fmla="*/ 21 h 368"/>
                    <a:gd name="T12" fmla="*/ 521 w 542"/>
                    <a:gd name="T13" fmla="*/ 0 h 368"/>
                    <a:gd name="T14" fmla="*/ 521 w 542"/>
                    <a:gd name="T15" fmla="*/ 339 h 368"/>
                    <a:gd name="T16" fmla="*/ 21 w 542"/>
                    <a:gd name="T17" fmla="*/ 339 h 368"/>
                    <a:gd name="T18" fmla="*/ 21 w 542"/>
                    <a:gd name="T19" fmla="*/ 27 h 368"/>
                    <a:gd name="T20" fmla="*/ 520 w 542"/>
                    <a:gd name="T21" fmla="*/ 27 h 368"/>
                    <a:gd name="T22" fmla="*/ 520 w 542"/>
                    <a:gd name="T23" fmla="*/ 339 h 368"/>
                    <a:gd name="T24" fmla="*/ 521 w 542"/>
                    <a:gd name="T25" fmla="*/ 339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2" h="368">
                      <a:moveTo>
                        <a:pt x="521" y="0"/>
                      </a:moveTo>
                      <a:cubicBezTo>
                        <a:pt x="21" y="0"/>
                        <a:pt x="21" y="0"/>
                        <a:pt x="21" y="0"/>
                      </a:cubicBezTo>
                      <a:cubicBezTo>
                        <a:pt x="10" y="0"/>
                        <a:pt x="0" y="10"/>
                        <a:pt x="0" y="21"/>
                      </a:cubicBezTo>
                      <a:cubicBezTo>
                        <a:pt x="0" y="368"/>
                        <a:pt x="0" y="368"/>
                        <a:pt x="0" y="368"/>
                      </a:cubicBezTo>
                      <a:cubicBezTo>
                        <a:pt x="542" y="368"/>
                        <a:pt x="542" y="368"/>
                        <a:pt x="542" y="368"/>
                      </a:cubicBezTo>
                      <a:cubicBezTo>
                        <a:pt x="542" y="21"/>
                        <a:pt x="542" y="21"/>
                        <a:pt x="542" y="21"/>
                      </a:cubicBezTo>
                      <a:cubicBezTo>
                        <a:pt x="542" y="10"/>
                        <a:pt x="533" y="0"/>
                        <a:pt x="521" y="0"/>
                      </a:cubicBezTo>
                      <a:close/>
                      <a:moveTo>
                        <a:pt x="521" y="339"/>
                      </a:moveTo>
                      <a:cubicBezTo>
                        <a:pt x="21" y="339"/>
                        <a:pt x="21" y="339"/>
                        <a:pt x="21" y="339"/>
                      </a:cubicBezTo>
                      <a:cubicBezTo>
                        <a:pt x="21" y="27"/>
                        <a:pt x="21" y="27"/>
                        <a:pt x="21" y="27"/>
                      </a:cubicBezTo>
                      <a:cubicBezTo>
                        <a:pt x="520" y="27"/>
                        <a:pt x="520" y="27"/>
                        <a:pt x="520" y="27"/>
                      </a:cubicBezTo>
                      <a:cubicBezTo>
                        <a:pt x="520" y="339"/>
                        <a:pt x="520" y="339"/>
                        <a:pt x="520" y="339"/>
                      </a:cubicBezTo>
                      <a:lnTo>
                        <a:pt x="521" y="339"/>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68" name="Freeform 15">
                  <a:extLst>
                    <a:ext uri="{FF2B5EF4-FFF2-40B4-BE49-F238E27FC236}">
                      <a16:creationId xmlns:a16="http://schemas.microsoft.com/office/drawing/2014/main" id="{A2E2528C-F7E3-4B05-85EC-9AE3ACD226E7}"/>
                    </a:ext>
                  </a:extLst>
                </p:cNvPr>
                <p:cNvSpPr>
                  <a:spLocks/>
                </p:cNvSpPr>
                <p:nvPr/>
              </p:nvSpPr>
              <p:spPr bwMode="auto">
                <a:xfrm>
                  <a:off x="615531" y="1610348"/>
                  <a:ext cx="547784" cy="11624"/>
                </a:xfrm>
                <a:custGeom>
                  <a:avLst/>
                  <a:gdLst>
                    <a:gd name="T0" fmla="*/ 633 w 637"/>
                    <a:gd name="T1" fmla="*/ 0 h 13"/>
                    <a:gd name="T2" fmla="*/ 593 w 637"/>
                    <a:gd name="T3" fmla="*/ 0 h 13"/>
                    <a:gd name="T4" fmla="*/ 593 w 637"/>
                    <a:gd name="T5" fmla="*/ 4 h 13"/>
                    <a:gd name="T6" fmla="*/ 589 w 637"/>
                    <a:gd name="T7" fmla="*/ 4 h 13"/>
                    <a:gd name="T8" fmla="*/ 47 w 637"/>
                    <a:gd name="T9" fmla="*/ 4 h 13"/>
                    <a:gd name="T10" fmla="*/ 43 w 637"/>
                    <a:gd name="T11" fmla="*/ 4 h 13"/>
                    <a:gd name="T12" fmla="*/ 43 w 637"/>
                    <a:gd name="T13" fmla="*/ 0 h 13"/>
                    <a:gd name="T14" fmla="*/ 4 w 637"/>
                    <a:gd name="T15" fmla="*/ 0 h 13"/>
                    <a:gd name="T16" fmla="*/ 2 w 637"/>
                    <a:gd name="T17" fmla="*/ 6 h 13"/>
                    <a:gd name="T18" fmla="*/ 9 w 637"/>
                    <a:gd name="T19" fmla="*/ 10 h 13"/>
                    <a:gd name="T20" fmla="*/ 19 w 637"/>
                    <a:gd name="T21" fmla="*/ 13 h 13"/>
                    <a:gd name="T22" fmla="*/ 617 w 637"/>
                    <a:gd name="T23" fmla="*/ 13 h 13"/>
                    <a:gd name="T24" fmla="*/ 627 w 637"/>
                    <a:gd name="T25" fmla="*/ 10 h 13"/>
                    <a:gd name="T26" fmla="*/ 634 w 637"/>
                    <a:gd name="T27" fmla="*/ 6 h 13"/>
                    <a:gd name="T28" fmla="*/ 633 w 637"/>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7" h="13">
                      <a:moveTo>
                        <a:pt x="633" y="0"/>
                      </a:moveTo>
                      <a:cubicBezTo>
                        <a:pt x="593" y="0"/>
                        <a:pt x="593" y="0"/>
                        <a:pt x="593" y="0"/>
                      </a:cubicBezTo>
                      <a:cubicBezTo>
                        <a:pt x="593" y="4"/>
                        <a:pt x="593" y="4"/>
                        <a:pt x="593" y="4"/>
                      </a:cubicBezTo>
                      <a:cubicBezTo>
                        <a:pt x="589" y="4"/>
                        <a:pt x="589" y="4"/>
                        <a:pt x="589" y="4"/>
                      </a:cubicBezTo>
                      <a:cubicBezTo>
                        <a:pt x="47" y="4"/>
                        <a:pt x="47" y="4"/>
                        <a:pt x="47" y="4"/>
                      </a:cubicBezTo>
                      <a:cubicBezTo>
                        <a:pt x="43" y="4"/>
                        <a:pt x="43" y="4"/>
                        <a:pt x="43" y="4"/>
                      </a:cubicBezTo>
                      <a:cubicBezTo>
                        <a:pt x="43" y="0"/>
                        <a:pt x="43" y="0"/>
                        <a:pt x="43" y="0"/>
                      </a:cubicBezTo>
                      <a:cubicBezTo>
                        <a:pt x="4" y="0"/>
                        <a:pt x="4" y="0"/>
                        <a:pt x="4" y="0"/>
                      </a:cubicBezTo>
                      <a:cubicBezTo>
                        <a:pt x="1" y="0"/>
                        <a:pt x="0" y="4"/>
                        <a:pt x="2" y="6"/>
                      </a:cubicBezTo>
                      <a:cubicBezTo>
                        <a:pt x="9" y="10"/>
                        <a:pt x="9" y="10"/>
                        <a:pt x="9" y="10"/>
                      </a:cubicBezTo>
                      <a:cubicBezTo>
                        <a:pt x="12" y="12"/>
                        <a:pt x="15" y="13"/>
                        <a:pt x="19" y="13"/>
                      </a:cubicBezTo>
                      <a:cubicBezTo>
                        <a:pt x="617" y="13"/>
                        <a:pt x="617" y="13"/>
                        <a:pt x="617" y="13"/>
                      </a:cubicBezTo>
                      <a:cubicBezTo>
                        <a:pt x="621" y="13"/>
                        <a:pt x="624" y="12"/>
                        <a:pt x="627" y="10"/>
                      </a:cubicBezTo>
                      <a:cubicBezTo>
                        <a:pt x="634" y="6"/>
                        <a:pt x="634" y="6"/>
                        <a:pt x="634" y="6"/>
                      </a:cubicBezTo>
                      <a:cubicBezTo>
                        <a:pt x="637" y="4"/>
                        <a:pt x="635" y="0"/>
                        <a:pt x="633" y="0"/>
                      </a:cubicBezTo>
                      <a:close/>
                    </a:path>
                  </a:pathLst>
                </a:custGeom>
                <a:solidFill>
                  <a:schemeClr val="bg1">
                    <a:lumMod val="95000"/>
                  </a:schemeClr>
                </a:solidFill>
                <a:ln w="9525">
                  <a:solidFill>
                    <a:schemeClr val="accent1"/>
                  </a:solidFill>
                  <a:round/>
                  <a:headEnd/>
                  <a:tailEnd/>
                </a:ln>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69" name="Rectangle 18">
                  <a:extLst>
                    <a:ext uri="{FF2B5EF4-FFF2-40B4-BE49-F238E27FC236}">
                      <a16:creationId xmlns:a16="http://schemas.microsoft.com/office/drawing/2014/main" id="{AAE5C7FD-DAC9-4139-9100-161909ED2C0E}"/>
                    </a:ext>
                  </a:extLst>
                </p:cNvPr>
                <p:cNvSpPr>
                  <a:spLocks noChangeArrowheads="1"/>
                </p:cNvSpPr>
                <p:nvPr/>
              </p:nvSpPr>
              <p:spPr bwMode="auto">
                <a:xfrm>
                  <a:off x="705617" y="1486842"/>
                  <a:ext cx="21795" cy="523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70" name="Rectangle 19">
                  <a:extLst>
                    <a:ext uri="{FF2B5EF4-FFF2-40B4-BE49-F238E27FC236}">
                      <a16:creationId xmlns:a16="http://schemas.microsoft.com/office/drawing/2014/main" id="{E143DF98-8A46-46F5-B5CD-4802634D1917}"/>
                    </a:ext>
                  </a:extLst>
                </p:cNvPr>
                <p:cNvSpPr>
                  <a:spLocks noChangeArrowheads="1"/>
                </p:cNvSpPr>
                <p:nvPr/>
              </p:nvSpPr>
              <p:spPr bwMode="auto">
                <a:xfrm>
                  <a:off x="705617" y="1504278"/>
                  <a:ext cx="21795" cy="3487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71" name="Rectangle 20">
                  <a:extLst>
                    <a:ext uri="{FF2B5EF4-FFF2-40B4-BE49-F238E27FC236}">
                      <a16:creationId xmlns:a16="http://schemas.microsoft.com/office/drawing/2014/main" id="{F4DEF5BF-601D-451A-872B-5E54020D15D3}"/>
                    </a:ext>
                  </a:extLst>
                </p:cNvPr>
                <p:cNvSpPr>
                  <a:spLocks noChangeArrowheads="1"/>
                </p:cNvSpPr>
                <p:nvPr/>
              </p:nvSpPr>
              <p:spPr bwMode="auto">
                <a:xfrm>
                  <a:off x="736131" y="1462141"/>
                  <a:ext cx="20342" cy="770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72" name="Rectangle 21">
                  <a:extLst>
                    <a:ext uri="{FF2B5EF4-FFF2-40B4-BE49-F238E27FC236}">
                      <a16:creationId xmlns:a16="http://schemas.microsoft.com/office/drawing/2014/main" id="{2BC217D4-515D-47B2-BF4D-0445DD8E5636}"/>
                    </a:ext>
                  </a:extLst>
                </p:cNvPr>
                <p:cNvSpPr>
                  <a:spLocks noChangeArrowheads="1"/>
                </p:cNvSpPr>
                <p:nvPr/>
              </p:nvSpPr>
              <p:spPr bwMode="auto">
                <a:xfrm>
                  <a:off x="736131" y="1491201"/>
                  <a:ext cx="20342" cy="479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73" name="Rectangle 22">
                  <a:extLst>
                    <a:ext uri="{FF2B5EF4-FFF2-40B4-BE49-F238E27FC236}">
                      <a16:creationId xmlns:a16="http://schemas.microsoft.com/office/drawing/2014/main" id="{85A1EF7F-0978-481E-93A7-A595F78F878D}"/>
                    </a:ext>
                  </a:extLst>
                </p:cNvPr>
                <p:cNvSpPr>
                  <a:spLocks noChangeArrowheads="1"/>
                </p:cNvSpPr>
                <p:nvPr/>
              </p:nvSpPr>
              <p:spPr bwMode="auto">
                <a:xfrm>
                  <a:off x="826217" y="1374961"/>
                  <a:ext cx="20342" cy="1641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74" name="Rectangle 23">
                  <a:extLst>
                    <a:ext uri="{FF2B5EF4-FFF2-40B4-BE49-F238E27FC236}">
                      <a16:creationId xmlns:a16="http://schemas.microsoft.com/office/drawing/2014/main" id="{B59AA853-00BD-48A3-A135-A909F2A47726}"/>
                    </a:ext>
                  </a:extLst>
                </p:cNvPr>
                <p:cNvSpPr>
                  <a:spLocks noChangeArrowheads="1"/>
                </p:cNvSpPr>
                <p:nvPr/>
              </p:nvSpPr>
              <p:spPr bwMode="auto">
                <a:xfrm>
                  <a:off x="826217" y="1402568"/>
                  <a:ext cx="20342" cy="13658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75" name="Rectangle 24">
                  <a:extLst>
                    <a:ext uri="{FF2B5EF4-FFF2-40B4-BE49-F238E27FC236}">
                      <a16:creationId xmlns:a16="http://schemas.microsoft.com/office/drawing/2014/main" id="{D556A2F7-23D5-4BA6-A0D7-C469B83E0B86}"/>
                    </a:ext>
                  </a:extLst>
                </p:cNvPr>
                <p:cNvSpPr>
                  <a:spLocks noChangeArrowheads="1"/>
                </p:cNvSpPr>
                <p:nvPr/>
              </p:nvSpPr>
              <p:spPr bwMode="auto">
                <a:xfrm>
                  <a:off x="795704" y="1414192"/>
                  <a:ext cx="21795" cy="1249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76" name="Rectangle 25">
                  <a:extLst>
                    <a:ext uri="{FF2B5EF4-FFF2-40B4-BE49-F238E27FC236}">
                      <a16:creationId xmlns:a16="http://schemas.microsoft.com/office/drawing/2014/main" id="{DD10E890-830B-4633-806C-F524B13801E3}"/>
                    </a:ext>
                  </a:extLst>
                </p:cNvPr>
                <p:cNvSpPr>
                  <a:spLocks noChangeArrowheads="1"/>
                </p:cNvSpPr>
                <p:nvPr/>
              </p:nvSpPr>
              <p:spPr bwMode="auto">
                <a:xfrm>
                  <a:off x="765191" y="1454876"/>
                  <a:ext cx="21795" cy="84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77" name="Rectangle 26">
                  <a:extLst>
                    <a:ext uri="{FF2B5EF4-FFF2-40B4-BE49-F238E27FC236}">
                      <a16:creationId xmlns:a16="http://schemas.microsoft.com/office/drawing/2014/main" id="{93BF6AEE-7EF4-4C4B-8BE2-3CE11100D8B6}"/>
                    </a:ext>
                  </a:extLst>
                </p:cNvPr>
                <p:cNvSpPr>
                  <a:spLocks noChangeArrowheads="1"/>
                </p:cNvSpPr>
                <p:nvPr/>
              </p:nvSpPr>
              <p:spPr bwMode="auto">
                <a:xfrm>
                  <a:off x="765191" y="1472312"/>
                  <a:ext cx="21795" cy="668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sp>
              <p:nvSpPr>
                <p:cNvPr id="78" name="Rectangle 27">
                  <a:extLst>
                    <a:ext uri="{FF2B5EF4-FFF2-40B4-BE49-F238E27FC236}">
                      <a16:creationId xmlns:a16="http://schemas.microsoft.com/office/drawing/2014/main" id="{C95B43B0-0C19-4C75-910E-351BD9A66139}"/>
                    </a:ext>
                  </a:extLst>
                </p:cNvPr>
                <p:cNvSpPr>
                  <a:spLocks noChangeArrowheads="1"/>
                </p:cNvSpPr>
                <p:nvPr/>
              </p:nvSpPr>
              <p:spPr bwMode="auto">
                <a:xfrm>
                  <a:off x="795704" y="1428722"/>
                  <a:ext cx="21795" cy="1104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878727" fontAlgn="base">
                    <a:defRPr/>
                  </a:pPr>
                  <a:endParaRPr lang="en-US" sz="1568">
                    <a:solidFill>
                      <a:srgbClr val="505050"/>
                    </a:solidFill>
                    <a:latin typeface="Segoe UI"/>
                  </a:endParaRPr>
                </a:p>
              </p:txBody>
            </p:sp>
          </p:grpSp>
          <p:grpSp>
            <p:nvGrpSpPr>
              <p:cNvPr id="57" name="engineer" descr="engineer, assistance">
                <a:extLst>
                  <a:ext uri="{FF2B5EF4-FFF2-40B4-BE49-F238E27FC236}">
                    <a16:creationId xmlns:a16="http://schemas.microsoft.com/office/drawing/2014/main" id="{F0D70B3B-F1C7-459F-930D-711CFB04AB6A}"/>
                  </a:ext>
                </a:extLst>
              </p:cNvPr>
              <p:cNvGrpSpPr/>
              <p:nvPr/>
            </p:nvGrpSpPr>
            <p:grpSpPr>
              <a:xfrm>
                <a:off x="7521253" y="4424064"/>
                <a:ext cx="435026" cy="435024"/>
                <a:chOff x="6360363" y="5994664"/>
                <a:chExt cx="435026" cy="435024"/>
              </a:xfrm>
            </p:grpSpPr>
            <p:sp>
              <p:nvSpPr>
                <p:cNvPr id="58" name="Freeform: Shape 57">
                  <a:extLst>
                    <a:ext uri="{FF2B5EF4-FFF2-40B4-BE49-F238E27FC236}">
                      <a16:creationId xmlns:a16="http://schemas.microsoft.com/office/drawing/2014/main" id="{2D21BEF3-77CF-4DC2-AC8E-CDB0A36C9499}"/>
                    </a:ext>
                  </a:extLst>
                </p:cNvPr>
                <p:cNvSpPr/>
                <p:nvPr/>
              </p:nvSpPr>
              <p:spPr>
                <a:xfrm>
                  <a:off x="6360363" y="5994664"/>
                  <a:ext cx="435026" cy="435024"/>
                </a:xfrm>
                <a:custGeom>
                  <a:avLst/>
                  <a:gdLst>
                    <a:gd name="connsiteX0" fmla="*/ 435549 w 435026"/>
                    <a:gd name="connsiteY0" fmla="*/ 241390 h 435024"/>
                    <a:gd name="connsiteX1" fmla="*/ 435549 w 435026"/>
                    <a:gd name="connsiteY1" fmla="*/ 195674 h 435024"/>
                    <a:gd name="connsiteX2" fmla="*/ 388383 w 435026"/>
                    <a:gd name="connsiteY2" fmla="*/ 195674 h 435024"/>
                    <a:gd name="connsiteX3" fmla="*/ 354803 w 435026"/>
                    <a:gd name="connsiteY3" fmla="*/ 114623 h 435024"/>
                    <a:gd name="connsiteX4" fmla="*/ 388155 w 435026"/>
                    <a:gd name="connsiteY4" fmla="*/ 81271 h 435024"/>
                    <a:gd name="connsiteX5" fmla="*/ 355871 w 435026"/>
                    <a:gd name="connsiteY5" fmla="*/ 48988 h 435024"/>
                    <a:gd name="connsiteX6" fmla="*/ 322519 w 435026"/>
                    <a:gd name="connsiteY6" fmla="*/ 82339 h 435024"/>
                    <a:gd name="connsiteX7" fmla="*/ 241467 w 435026"/>
                    <a:gd name="connsiteY7" fmla="*/ 48759 h 435024"/>
                    <a:gd name="connsiteX8" fmla="*/ 241467 w 435026"/>
                    <a:gd name="connsiteY8" fmla="*/ 1593 h 435024"/>
                    <a:gd name="connsiteX9" fmla="*/ 195752 w 435026"/>
                    <a:gd name="connsiteY9" fmla="*/ 1593 h 435024"/>
                    <a:gd name="connsiteX10" fmla="*/ 195752 w 435026"/>
                    <a:gd name="connsiteY10" fmla="*/ 48759 h 435024"/>
                    <a:gd name="connsiteX11" fmla="*/ 114699 w 435026"/>
                    <a:gd name="connsiteY11" fmla="*/ 82339 h 435024"/>
                    <a:gd name="connsiteX12" fmla="*/ 81347 w 435026"/>
                    <a:gd name="connsiteY12" fmla="*/ 48988 h 435024"/>
                    <a:gd name="connsiteX13" fmla="*/ 49064 w 435026"/>
                    <a:gd name="connsiteY13" fmla="*/ 81271 h 435024"/>
                    <a:gd name="connsiteX14" fmla="*/ 82416 w 435026"/>
                    <a:gd name="connsiteY14" fmla="*/ 114623 h 435024"/>
                    <a:gd name="connsiteX15" fmla="*/ 48835 w 435026"/>
                    <a:gd name="connsiteY15" fmla="*/ 195674 h 435024"/>
                    <a:gd name="connsiteX16" fmla="*/ 1593 w 435026"/>
                    <a:gd name="connsiteY16" fmla="*/ 195674 h 435024"/>
                    <a:gd name="connsiteX17" fmla="*/ 1593 w 435026"/>
                    <a:gd name="connsiteY17" fmla="*/ 241390 h 435024"/>
                    <a:gd name="connsiteX18" fmla="*/ 48759 w 435026"/>
                    <a:gd name="connsiteY18" fmla="*/ 241390 h 435024"/>
                    <a:gd name="connsiteX19" fmla="*/ 97451 w 435026"/>
                    <a:gd name="connsiteY19" fmla="*/ 339690 h 435024"/>
                    <a:gd name="connsiteX20" fmla="*/ 195752 w 435026"/>
                    <a:gd name="connsiteY20" fmla="*/ 388382 h 435024"/>
                    <a:gd name="connsiteX21" fmla="*/ 195752 w 435026"/>
                    <a:gd name="connsiteY21" fmla="*/ 435547 h 435024"/>
                    <a:gd name="connsiteX22" fmla="*/ 241467 w 435026"/>
                    <a:gd name="connsiteY22" fmla="*/ 435547 h 435024"/>
                    <a:gd name="connsiteX23" fmla="*/ 241467 w 435026"/>
                    <a:gd name="connsiteY23" fmla="*/ 388382 h 435024"/>
                    <a:gd name="connsiteX24" fmla="*/ 322519 w 435026"/>
                    <a:gd name="connsiteY24" fmla="*/ 354801 h 435024"/>
                    <a:gd name="connsiteX25" fmla="*/ 355871 w 435026"/>
                    <a:gd name="connsiteY25" fmla="*/ 388153 h 435024"/>
                    <a:gd name="connsiteX26" fmla="*/ 388155 w 435026"/>
                    <a:gd name="connsiteY26" fmla="*/ 355869 h 435024"/>
                    <a:gd name="connsiteX27" fmla="*/ 354803 w 435026"/>
                    <a:gd name="connsiteY27" fmla="*/ 322518 h 435024"/>
                    <a:gd name="connsiteX28" fmla="*/ 388383 w 435026"/>
                    <a:gd name="connsiteY28" fmla="*/ 241466 h 435024"/>
                    <a:gd name="connsiteX29" fmla="*/ 435549 w 435026"/>
                    <a:gd name="connsiteY29" fmla="*/ 241466 h 435024"/>
                    <a:gd name="connsiteX30" fmla="*/ 435549 w 435026"/>
                    <a:gd name="connsiteY30" fmla="*/ 241390 h 435024"/>
                    <a:gd name="connsiteX31" fmla="*/ 92948 w 435026"/>
                    <a:gd name="connsiteY31" fmla="*/ 218570 h 435024"/>
                    <a:gd name="connsiteX32" fmla="*/ 121492 w 435026"/>
                    <a:gd name="connsiteY32" fmla="*/ 138892 h 435024"/>
                    <a:gd name="connsiteX33" fmla="*/ 194073 w 435026"/>
                    <a:gd name="connsiteY33" fmla="*/ 95390 h 435024"/>
                    <a:gd name="connsiteX34" fmla="*/ 277796 w 435026"/>
                    <a:gd name="connsiteY34" fmla="*/ 107830 h 435024"/>
                    <a:gd name="connsiteX35" fmla="*/ 334654 w 435026"/>
                    <a:gd name="connsiteY35" fmla="*/ 170565 h 435024"/>
                    <a:gd name="connsiteX36" fmla="*/ 338775 w 435026"/>
                    <a:gd name="connsiteY36" fmla="*/ 255127 h 435024"/>
                    <a:gd name="connsiteX37" fmla="*/ 288328 w 435026"/>
                    <a:gd name="connsiteY37" fmla="*/ 323128 h 435024"/>
                    <a:gd name="connsiteX38" fmla="*/ 206207 w 435026"/>
                    <a:gd name="connsiteY38" fmla="*/ 343658 h 435024"/>
                    <a:gd name="connsiteX39" fmla="*/ 129658 w 435026"/>
                    <a:gd name="connsiteY39" fmla="*/ 307483 h 435024"/>
                    <a:gd name="connsiteX40" fmla="*/ 102336 w 435026"/>
                    <a:gd name="connsiteY40" fmla="*/ 266728 h 435024"/>
                    <a:gd name="connsiteX41" fmla="*/ 92948 w 435026"/>
                    <a:gd name="connsiteY41" fmla="*/ 218570 h 4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5026" h="435024">
                      <a:moveTo>
                        <a:pt x="435549" y="241390"/>
                      </a:moveTo>
                      <a:lnTo>
                        <a:pt x="435549" y="195674"/>
                      </a:lnTo>
                      <a:lnTo>
                        <a:pt x="388383" y="195674"/>
                      </a:lnTo>
                      <a:cubicBezTo>
                        <a:pt x="384491" y="166215"/>
                        <a:pt x="372891" y="138282"/>
                        <a:pt x="354803" y="114623"/>
                      </a:cubicBezTo>
                      <a:lnTo>
                        <a:pt x="388155" y="81271"/>
                      </a:lnTo>
                      <a:lnTo>
                        <a:pt x="355871" y="48988"/>
                      </a:lnTo>
                      <a:lnTo>
                        <a:pt x="322519" y="82339"/>
                      </a:lnTo>
                      <a:cubicBezTo>
                        <a:pt x="298860" y="64252"/>
                        <a:pt x="270927" y="52651"/>
                        <a:pt x="241467" y="48759"/>
                      </a:cubicBezTo>
                      <a:lnTo>
                        <a:pt x="241467" y="1593"/>
                      </a:lnTo>
                      <a:lnTo>
                        <a:pt x="195752" y="1593"/>
                      </a:lnTo>
                      <a:lnTo>
                        <a:pt x="195752" y="48759"/>
                      </a:lnTo>
                      <a:cubicBezTo>
                        <a:pt x="166292" y="52651"/>
                        <a:pt x="138359" y="64252"/>
                        <a:pt x="114699" y="82339"/>
                      </a:cubicBezTo>
                      <a:lnTo>
                        <a:pt x="81347" y="48988"/>
                      </a:lnTo>
                      <a:lnTo>
                        <a:pt x="49064" y="81271"/>
                      </a:lnTo>
                      <a:lnTo>
                        <a:pt x="82416" y="114623"/>
                      </a:lnTo>
                      <a:cubicBezTo>
                        <a:pt x="64328" y="138282"/>
                        <a:pt x="52728" y="166215"/>
                        <a:pt x="48835" y="195674"/>
                      </a:cubicBezTo>
                      <a:lnTo>
                        <a:pt x="1593" y="195674"/>
                      </a:lnTo>
                      <a:lnTo>
                        <a:pt x="1593" y="241390"/>
                      </a:lnTo>
                      <a:lnTo>
                        <a:pt x="48759" y="241390"/>
                      </a:lnTo>
                      <a:cubicBezTo>
                        <a:pt x="53796" y="278557"/>
                        <a:pt x="70892" y="313131"/>
                        <a:pt x="97451" y="339690"/>
                      </a:cubicBezTo>
                      <a:cubicBezTo>
                        <a:pt x="124011" y="366249"/>
                        <a:pt x="158507" y="383344"/>
                        <a:pt x="195752" y="388382"/>
                      </a:cubicBezTo>
                      <a:lnTo>
                        <a:pt x="195752" y="435547"/>
                      </a:lnTo>
                      <a:lnTo>
                        <a:pt x="241467" y="435547"/>
                      </a:lnTo>
                      <a:lnTo>
                        <a:pt x="241467" y="388382"/>
                      </a:lnTo>
                      <a:cubicBezTo>
                        <a:pt x="270927" y="384489"/>
                        <a:pt x="298860" y="372889"/>
                        <a:pt x="322519" y="354801"/>
                      </a:cubicBezTo>
                      <a:lnTo>
                        <a:pt x="355871" y="388153"/>
                      </a:lnTo>
                      <a:lnTo>
                        <a:pt x="388155" y="355869"/>
                      </a:lnTo>
                      <a:lnTo>
                        <a:pt x="354803" y="322518"/>
                      </a:lnTo>
                      <a:cubicBezTo>
                        <a:pt x="372891" y="298859"/>
                        <a:pt x="384491" y="270926"/>
                        <a:pt x="388383" y="241466"/>
                      </a:cubicBezTo>
                      <a:lnTo>
                        <a:pt x="435549" y="241466"/>
                      </a:lnTo>
                      <a:lnTo>
                        <a:pt x="435549" y="241390"/>
                      </a:lnTo>
                      <a:close/>
                      <a:moveTo>
                        <a:pt x="92948" y="218570"/>
                      </a:moveTo>
                      <a:cubicBezTo>
                        <a:pt x="92948" y="189492"/>
                        <a:pt x="103023" y="161330"/>
                        <a:pt x="121492" y="138892"/>
                      </a:cubicBezTo>
                      <a:cubicBezTo>
                        <a:pt x="139961" y="116454"/>
                        <a:pt x="165605" y="101038"/>
                        <a:pt x="194073" y="95390"/>
                      </a:cubicBezTo>
                      <a:cubicBezTo>
                        <a:pt x="222540" y="89743"/>
                        <a:pt x="252152" y="94093"/>
                        <a:pt x="277796" y="107830"/>
                      </a:cubicBezTo>
                      <a:cubicBezTo>
                        <a:pt x="303439" y="121492"/>
                        <a:pt x="323511" y="143700"/>
                        <a:pt x="334654" y="170565"/>
                      </a:cubicBezTo>
                      <a:cubicBezTo>
                        <a:pt x="345797" y="197430"/>
                        <a:pt x="347247" y="227270"/>
                        <a:pt x="338775" y="255127"/>
                      </a:cubicBezTo>
                      <a:cubicBezTo>
                        <a:pt x="330304" y="282908"/>
                        <a:pt x="312521" y="306948"/>
                        <a:pt x="288328" y="323128"/>
                      </a:cubicBezTo>
                      <a:cubicBezTo>
                        <a:pt x="264134" y="339308"/>
                        <a:pt x="235133" y="346559"/>
                        <a:pt x="206207" y="343658"/>
                      </a:cubicBezTo>
                      <a:cubicBezTo>
                        <a:pt x="177282" y="340834"/>
                        <a:pt x="150265" y="328012"/>
                        <a:pt x="129658" y="307483"/>
                      </a:cubicBezTo>
                      <a:cubicBezTo>
                        <a:pt x="117981" y="295882"/>
                        <a:pt x="108670" y="281992"/>
                        <a:pt x="102336" y="266728"/>
                      </a:cubicBezTo>
                      <a:cubicBezTo>
                        <a:pt x="96154" y="251388"/>
                        <a:pt x="92872" y="235055"/>
                        <a:pt x="92948" y="218570"/>
                      </a:cubicBezTo>
                      <a:close/>
                    </a:path>
                  </a:pathLst>
                </a:custGeom>
                <a:solidFill>
                  <a:srgbClr val="50E6FF"/>
                </a:solidFill>
                <a:ln w="4465" cap="flat">
                  <a:noFill/>
                  <a:prstDash val="solid"/>
                  <a:miter/>
                </a:ln>
              </p:spPr>
              <p:txBody>
                <a:bodyPr rtlCol="0" anchor="ctr"/>
                <a:lstStyle/>
                <a:p>
                  <a:pPr defTabSz="914367">
                    <a:defRPr/>
                  </a:pPr>
                  <a:endParaRPr lang="en-US" sz="1568">
                    <a:solidFill>
                      <a:srgbClr val="000000"/>
                    </a:solidFill>
                    <a:latin typeface="Segoe UI"/>
                  </a:endParaRPr>
                </a:p>
              </p:txBody>
            </p:sp>
            <p:sp>
              <p:nvSpPr>
                <p:cNvPr id="59" name="Freeform: Shape 58">
                  <a:extLst>
                    <a:ext uri="{FF2B5EF4-FFF2-40B4-BE49-F238E27FC236}">
                      <a16:creationId xmlns:a16="http://schemas.microsoft.com/office/drawing/2014/main" id="{278E069D-6419-447A-9AC6-02D0DC0EA767}"/>
                    </a:ext>
                  </a:extLst>
                </p:cNvPr>
                <p:cNvSpPr/>
                <p:nvPr/>
              </p:nvSpPr>
              <p:spPr>
                <a:xfrm>
                  <a:off x="6373033" y="6112447"/>
                  <a:ext cx="303612" cy="303611"/>
                </a:xfrm>
                <a:custGeom>
                  <a:avLst/>
                  <a:gdLst>
                    <a:gd name="connsiteX0" fmla="*/ 249557 w 303611"/>
                    <a:gd name="connsiteY0" fmla="*/ 108199 h 303610"/>
                    <a:gd name="connsiteX1" fmla="*/ 197354 w 303611"/>
                    <a:gd name="connsiteY1" fmla="*/ 55996 h 303610"/>
                    <a:gd name="connsiteX2" fmla="*/ 244368 w 303611"/>
                    <a:gd name="connsiteY2" fmla="*/ 8983 h 303610"/>
                    <a:gd name="connsiteX3" fmla="*/ 188959 w 303611"/>
                    <a:gd name="connsiteY3" fmla="*/ 3336 h 303610"/>
                    <a:gd name="connsiteX4" fmla="*/ 139580 w 303611"/>
                    <a:gd name="connsiteY4" fmla="*/ 29132 h 303610"/>
                    <a:gd name="connsiteX5" fmla="*/ 112562 w 303611"/>
                    <a:gd name="connsiteY5" fmla="*/ 77823 h 303610"/>
                    <a:gd name="connsiteX6" fmla="*/ 116836 w 303611"/>
                    <a:gd name="connsiteY6" fmla="*/ 133308 h 303610"/>
                    <a:gd name="connsiteX7" fmla="*/ 13041 w 303611"/>
                    <a:gd name="connsiteY7" fmla="*/ 237103 h 303610"/>
                    <a:gd name="connsiteX8" fmla="*/ 1593 w 303611"/>
                    <a:gd name="connsiteY8" fmla="*/ 264807 h 303610"/>
                    <a:gd name="connsiteX9" fmla="*/ 13041 w 303611"/>
                    <a:gd name="connsiteY9" fmla="*/ 292511 h 303610"/>
                    <a:gd name="connsiteX10" fmla="*/ 40745 w 303611"/>
                    <a:gd name="connsiteY10" fmla="*/ 303959 h 303610"/>
                    <a:gd name="connsiteX11" fmla="*/ 68449 w 303611"/>
                    <a:gd name="connsiteY11" fmla="*/ 292511 h 303610"/>
                    <a:gd name="connsiteX12" fmla="*/ 172245 w 303611"/>
                    <a:gd name="connsiteY12" fmla="*/ 188716 h 303610"/>
                    <a:gd name="connsiteX13" fmla="*/ 227730 w 303611"/>
                    <a:gd name="connsiteY13" fmla="*/ 192990 h 303610"/>
                    <a:gd name="connsiteX14" fmla="*/ 276422 w 303611"/>
                    <a:gd name="connsiteY14" fmla="*/ 165973 h 303610"/>
                    <a:gd name="connsiteX15" fmla="*/ 302218 w 303611"/>
                    <a:gd name="connsiteY15" fmla="*/ 116670 h 303610"/>
                    <a:gd name="connsiteX16" fmla="*/ 296570 w 303611"/>
                    <a:gd name="connsiteY16" fmla="*/ 61262 h 303610"/>
                    <a:gd name="connsiteX17" fmla="*/ 249557 w 303611"/>
                    <a:gd name="connsiteY17" fmla="*/ 108199 h 303610"/>
                    <a:gd name="connsiteX18" fmla="*/ 54712 w 303611"/>
                    <a:gd name="connsiteY18" fmla="*/ 278544 h 303610"/>
                    <a:gd name="connsiteX19" fmla="*/ 44714 w 303611"/>
                    <a:gd name="connsiteY19" fmla="*/ 283887 h 303610"/>
                    <a:gd name="connsiteX20" fmla="*/ 33419 w 303611"/>
                    <a:gd name="connsiteY20" fmla="*/ 282742 h 303610"/>
                    <a:gd name="connsiteX21" fmla="*/ 24642 w 303611"/>
                    <a:gd name="connsiteY21" fmla="*/ 275568 h 303610"/>
                    <a:gd name="connsiteX22" fmla="*/ 21360 w 303611"/>
                    <a:gd name="connsiteY22" fmla="*/ 264731 h 303610"/>
                    <a:gd name="connsiteX23" fmla="*/ 24642 w 303611"/>
                    <a:gd name="connsiteY23" fmla="*/ 253894 h 303610"/>
                    <a:gd name="connsiteX24" fmla="*/ 33419 w 303611"/>
                    <a:gd name="connsiteY24" fmla="*/ 246719 h 303610"/>
                    <a:gd name="connsiteX25" fmla="*/ 44714 w 303611"/>
                    <a:gd name="connsiteY25" fmla="*/ 245575 h 303610"/>
                    <a:gd name="connsiteX26" fmla="*/ 54712 w 303611"/>
                    <a:gd name="connsiteY26" fmla="*/ 250917 h 303610"/>
                    <a:gd name="connsiteX27" fmla="*/ 60436 w 303611"/>
                    <a:gd name="connsiteY27" fmla="*/ 264731 h 303610"/>
                    <a:gd name="connsiteX28" fmla="*/ 54712 w 303611"/>
                    <a:gd name="connsiteY28" fmla="*/ 278544 h 30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1" h="303610">
                      <a:moveTo>
                        <a:pt x="249557" y="108199"/>
                      </a:moveTo>
                      <a:lnTo>
                        <a:pt x="197354" y="55996"/>
                      </a:lnTo>
                      <a:lnTo>
                        <a:pt x="244368" y="8983"/>
                      </a:lnTo>
                      <a:cubicBezTo>
                        <a:pt x="226890" y="1733"/>
                        <a:pt x="207581" y="-252"/>
                        <a:pt x="188959" y="3336"/>
                      </a:cubicBezTo>
                      <a:cubicBezTo>
                        <a:pt x="170337" y="6923"/>
                        <a:pt x="153165" y="15852"/>
                        <a:pt x="139580" y="29132"/>
                      </a:cubicBezTo>
                      <a:cubicBezTo>
                        <a:pt x="125995" y="42335"/>
                        <a:pt x="116608" y="59278"/>
                        <a:pt x="112562" y="77823"/>
                      </a:cubicBezTo>
                      <a:cubicBezTo>
                        <a:pt x="108518" y="96370"/>
                        <a:pt x="110044" y="115678"/>
                        <a:pt x="116836" y="133308"/>
                      </a:cubicBezTo>
                      <a:lnTo>
                        <a:pt x="13041" y="237103"/>
                      </a:lnTo>
                      <a:cubicBezTo>
                        <a:pt x="5714" y="244430"/>
                        <a:pt x="1593" y="254427"/>
                        <a:pt x="1593" y="264807"/>
                      </a:cubicBezTo>
                      <a:cubicBezTo>
                        <a:pt x="1593" y="275187"/>
                        <a:pt x="5714" y="285108"/>
                        <a:pt x="13041" y="292511"/>
                      </a:cubicBezTo>
                      <a:cubicBezTo>
                        <a:pt x="20368" y="299838"/>
                        <a:pt x="30366" y="303959"/>
                        <a:pt x="40745" y="303959"/>
                      </a:cubicBezTo>
                      <a:cubicBezTo>
                        <a:pt x="51125" y="303959"/>
                        <a:pt x="61047" y="299838"/>
                        <a:pt x="68449" y="292511"/>
                      </a:cubicBezTo>
                      <a:lnTo>
                        <a:pt x="172245" y="188716"/>
                      </a:lnTo>
                      <a:cubicBezTo>
                        <a:pt x="189951" y="195585"/>
                        <a:pt x="209184" y="197035"/>
                        <a:pt x="227730" y="192990"/>
                      </a:cubicBezTo>
                      <a:cubicBezTo>
                        <a:pt x="246275" y="188945"/>
                        <a:pt x="263142" y="179558"/>
                        <a:pt x="276422" y="165973"/>
                      </a:cubicBezTo>
                      <a:cubicBezTo>
                        <a:pt x="289625" y="152388"/>
                        <a:pt x="298631" y="135216"/>
                        <a:pt x="302218" y="116670"/>
                      </a:cubicBezTo>
                      <a:cubicBezTo>
                        <a:pt x="305805" y="98048"/>
                        <a:pt x="303821" y="78816"/>
                        <a:pt x="296570" y="61262"/>
                      </a:cubicBezTo>
                      <a:lnTo>
                        <a:pt x="249557" y="108199"/>
                      </a:lnTo>
                      <a:close/>
                      <a:moveTo>
                        <a:pt x="54712" y="278544"/>
                      </a:moveTo>
                      <a:cubicBezTo>
                        <a:pt x="51965" y="281292"/>
                        <a:pt x="48454" y="283124"/>
                        <a:pt x="44714" y="283887"/>
                      </a:cubicBezTo>
                      <a:cubicBezTo>
                        <a:pt x="40898" y="284650"/>
                        <a:pt x="37006" y="284269"/>
                        <a:pt x="33419" y="282742"/>
                      </a:cubicBezTo>
                      <a:cubicBezTo>
                        <a:pt x="29832" y="281292"/>
                        <a:pt x="26779" y="278774"/>
                        <a:pt x="24642" y="275568"/>
                      </a:cubicBezTo>
                      <a:cubicBezTo>
                        <a:pt x="22505" y="272363"/>
                        <a:pt x="21360" y="268547"/>
                        <a:pt x="21360" y="264731"/>
                      </a:cubicBezTo>
                      <a:cubicBezTo>
                        <a:pt x="21360" y="260839"/>
                        <a:pt x="22505" y="257099"/>
                        <a:pt x="24642" y="253894"/>
                      </a:cubicBezTo>
                      <a:cubicBezTo>
                        <a:pt x="26779" y="250688"/>
                        <a:pt x="29832" y="248169"/>
                        <a:pt x="33419" y="246719"/>
                      </a:cubicBezTo>
                      <a:cubicBezTo>
                        <a:pt x="37006" y="245269"/>
                        <a:pt x="40898" y="244888"/>
                        <a:pt x="44714" y="245575"/>
                      </a:cubicBezTo>
                      <a:cubicBezTo>
                        <a:pt x="48530" y="246338"/>
                        <a:pt x="51965" y="248169"/>
                        <a:pt x="54712" y="250917"/>
                      </a:cubicBezTo>
                      <a:cubicBezTo>
                        <a:pt x="58375" y="254580"/>
                        <a:pt x="60436" y="259541"/>
                        <a:pt x="60436" y="264731"/>
                      </a:cubicBezTo>
                      <a:cubicBezTo>
                        <a:pt x="60436" y="269921"/>
                        <a:pt x="58375" y="274881"/>
                        <a:pt x="54712" y="278544"/>
                      </a:cubicBezTo>
                      <a:close/>
                    </a:path>
                  </a:pathLst>
                </a:custGeom>
                <a:solidFill>
                  <a:srgbClr val="0078D4"/>
                </a:solidFill>
                <a:ln w="4465" cap="flat">
                  <a:noFill/>
                  <a:prstDash val="solid"/>
                  <a:miter/>
                </a:ln>
              </p:spPr>
              <p:txBody>
                <a:bodyPr rtlCol="0" anchor="ctr"/>
                <a:lstStyle/>
                <a:p>
                  <a:pPr defTabSz="914367">
                    <a:defRPr/>
                  </a:pPr>
                  <a:endParaRPr lang="en-US" sz="1568">
                    <a:solidFill>
                      <a:srgbClr val="000000"/>
                    </a:solidFill>
                    <a:latin typeface="Segoe UI"/>
                  </a:endParaRPr>
                </a:p>
              </p:txBody>
            </p:sp>
          </p:grpSp>
        </p:grpSp>
      </p:grpSp>
      <p:sp>
        <p:nvSpPr>
          <p:cNvPr id="79" name="Rectangle 78">
            <a:extLst>
              <a:ext uri="{FF2B5EF4-FFF2-40B4-BE49-F238E27FC236}">
                <a16:creationId xmlns:a16="http://schemas.microsoft.com/office/drawing/2014/main" id="{21757754-2A42-480D-9CAA-99969F170127}"/>
              </a:ext>
            </a:extLst>
          </p:cNvPr>
          <p:cNvSpPr/>
          <p:nvPr/>
        </p:nvSpPr>
        <p:spPr>
          <a:xfrm flipH="1">
            <a:off x="6806955" y="4312094"/>
            <a:ext cx="1993322" cy="1231106"/>
          </a:xfrm>
          <a:prstGeom prst="rect">
            <a:avLst/>
          </a:prstGeom>
          <a:noFill/>
        </p:spPr>
        <p:txBody>
          <a:bodyPr wrap="square" lIns="0" tIns="0" rIns="0" bIns="0" anchor="ctr">
            <a:spAutoFit/>
          </a:bodyPr>
          <a:lstStyle/>
          <a:p>
            <a:pPr algn="ctr" defTabSz="950878">
              <a:defRPr/>
            </a:pPr>
            <a:r>
              <a:rPr lang="en-US" sz="1600" u="sng" dirty="0">
                <a:latin typeface="Segoe UI Semibold" panose="020B0702040204020203" pitchFamily="34" charset="0"/>
                <a:cs typeface="Segoe UI Semibold" panose="020B0702040204020203" pitchFamily="34" charset="0"/>
              </a:rPr>
              <a:t>Insights</a:t>
            </a:r>
          </a:p>
          <a:p>
            <a:pPr algn="ctr" defTabSz="950878">
              <a:defRPr/>
            </a:pPr>
            <a:r>
              <a:rPr lang="en-US" sz="1600" i="1" dirty="0">
                <a:latin typeface="Segoe UI Semibold" panose="020B0702040204020203" pitchFamily="34" charset="0"/>
                <a:cs typeface="Segoe UI Semibold" panose="020B0702040204020203" pitchFamily="34" charset="0"/>
              </a:rPr>
              <a:t>Long term data collected shows device is no longer performing as desired</a:t>
            </a:r>
          </a:p>
        </p:txBody>
      </p:sp>
      <p:sp>
        <p:nvSpPr>
          <p:cNvPr id="80" name="Oval 79">
            <a:extLst>
              <a:ext uri="{FF2B5EF4-FFF2-40B4-BE49-F238E27FC236}">
                <a16:creationId xmlns:a16="http://schemas.microsoft.com/office/drawing/2014/main" id="{1D917BB1-8814-4E61-A973-7701E5AC2806}"/>
              </a:ext>
            </a:extLst>
          </p:cNvPr>
          <p:cNvSpPr/>
          <p:nvPr/>
        </p:nvSpPr>
        <p:spPr bwMode="auto">
          <a:xfrm>
            <a:off x="6942695" y="3780410"/>
            <a:ext cx="1589416" cy="33426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cs typeface="Segoe UI" pitchFamily="34" charset="0"/>
            </a:endParaRPr>
          </a:p>
        </p:txBody>
      </p:sp>
      <p:sp>
        <p:nvSpPr>
          <p:cNvPr id="81" name="Freeform 7">
            <a:extLst>
              <a:ext uri="{FF2B5EF4-FFF2-40B4-BE49-F238E27FC236}">
                <a16:creationId xmlns:a16="http://schemas.microsoft.com/office/drawing/2014/main" id="{44A6494D-008C-4F24-8010-822B4263B6CD}"/>
              </a:ext>
            </a:extLst>
          </p:cNvPr>
          <p:cNvSpPr>
            <a:spLocks/>
          </p:cNvSpPr>
          <p:nvPr/>
        </p:nvSpPr>
        <p:spPr bwMode="auto">
          <a:xfrm>
            <a:off x="7398231" y="3253355"/>
            <a:ext cx="678344" cy="417270"/>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solidFill>
            <a:schemeClr val="bg2"/>
          </a:solidFill>
          <a:ln w="19050" cap="flat">
            <a:solidFill>
              <a:schemeClr val="tx2"/>
            </a:solidFill>
            <a:prstDash val="solid"/>
            <a:miter lim="800000"/>
            <a:headEnd/>
            <a:tailEnd/>
          </a:ln>
        </p:spPr>
        <p:txBody>
          <a:bodyPr vert="horz" wrap="square" lIns="61104" tIns="30551" rIns="61104" bIns="30551" numCol="1" anchor="t" anchorCtr="0" compatLnSpc="1">
            <a:prstTxWarp prst="textNoShape">
              <a:avLst/>
            </a:prstTxWarp>
          </a:bodyPr>
          <a:lstStyle/>
          <a:p>
            <a:pPr algn="ctr" defTabSz="610979">
              <a:defRPr/>
            </a:pPr>
            <a:endParaRPr lang="en-US" sz="1203" kern="0">
              <a:solidFill>
                <a:srgbClr val="353535"/>
              </a:solidFill>
              <a:latin typeface="Segoe UI Semilight"/>
            </a:endParaRPr>
          </a:p>
        </p:txBody>
      </p:sp>
      <p:sp>
        <p:nvSpPr>
          <p:cNvPr id="82" name="Freeform: Shape 81">
            <a:extLst>
              <a:ext uri="{FF2B5EF4-FFF2-40B4-BE49-F238E27FC236}">
                <a16:creationId xmlns:a16="http://schemas.microsoft.com/office/drawing/2014/main" id="{AFD43F94-FB8C-4A88-94EB-7BCB4EE33950}"/>
              </a:ext>
            </a:extLst>
          </p:cNvPr>
          <p:cNvSpPr/>
          <p:nvPr/>
        </p:nvSpPr>
        <p:spPr>
          <a:xfrm>
            <a:off x="7398232" y="3253355"/>
            <a:ext cx="675741" cy="417270"/>
          </a:xfrm>
          <a:custGeom>
            <a:avLst/>
            <a:gdLst>
              <a:gd name="connsiteX0" fmla="*/ 301556 w 689291"/>
              <a:gd name="connsiteY0" fmla="*/ 409819 h 425637"/>
              <a:gd name="connsiteX1" fmla="*/ 307956 w 689291"/>
              <a:gd name="connsiteY1" fmla="*/ 416220 h 425637"/>
              <a:gd name="connsiteX2" fmla="*/ 307956 w 689291"/>
              <a:gd name="connsiteY2" fmla="*/ 425637 h 425637"/>
              <a:gd name="connsiteX3" fmla="*/ 295156 w 689291"/>
              <a:gd name="connsiteY3" fmla="*/ 425637 h 425637"/>
              <a:gd name="connsiteX4" fmla="*/ 295156 w 689291"/>
              <a:gd name="connsiteY4" fmla="*/ 416220 h 425637"/>
              <a:gd name="connsiteX5" fmla="*/ 301556 w 689291"/>
              <a:gd name="connsiteY5" fmla="*/ 409819 h 425637"/>
              <a:gd name="connsiteX6" fmla="*/ 213927 w 689291"/>
              <a:gd name="connsiteY6" fmla="*/ 409819 h 425637"/>
              <a:gd name="connsiteX7" fmla="*/ 220327 w 689291"/>
              <a:gd name="connsiteY7" fmla="*/ 416220 h 425637"/>
              <a:gd name="connsiteX8" fmla="*/ 220327 w 689291"/>
              <a:gd name="connsiteY8" fmla="*/ 425637 h 425637"/>
              <a:gd name="connsiteX9" fmla="*/ 207527 w 689291"/>
              <a:gd name="connsiteY9" fmla="*/ 425637 h 425637"/>
              <a:gd name="connsiteX10" fmla="*/ 207527 w 689291"/>
              <a:gd name="connsiteY10" fmla="*/ 416220 h 425637"/>
              <a:gd name="connsiteX11" fmla="*/ 213927 w 689291"/>
              <a:gd name="connsiteY11" fmla="*/ 409819 h 425637"/>
              <a:gd name="connsiteX12" fmla="*/ 126259 w 689291"/>
              <a:gd name="connsiteY12" fmla="*/ 409819 h 425637"/>
              <a:gd name="connsiteX13" fmla="*/ 132659 w 689291"/>
              <a:gd name="connsiteY13" fmla="*/ 416220 h 425637"/>
              <a:gd name="connsiteX14" fmla="*/ 132659 w 689291"/>
              <a:gd name="connsiteY14" fmla="*/ 425637 h 425637"/>
              <a:gd name="connsiteX15" fmla="*/ 119859 w 689291"/>
              <a:gd name="connsiteY15" fmla="*/ 425637 h 425637"/>
              <a:gd name="connsiteX16" fmla="*/ 119859 w 689291"/>
              <a:gd name="connsiteY16" fmla="*/ 416220 h 425637"/>
              <a:gd name="connsiteX17" fmla="*/ 126259 w 689291"/>
              <a:gd name="connsiteY17" fmla="*/ 409819 h 425637"/>
              <a:gd name="connsiteX18" fmla="*/ 345157 w 689291"/>
              <a:gd name="connsiteY18" fmla="*/ 409440 h 425637"/>
              <a:gd name="connsiteX19" fmla="*/ 357838 w 689291"/>
              <a:gd name="connsiteY19" fmla="*/ 414589 h 425637"/>
              <a:gd name="connsiteX20" fmla="*/ 363144 w 689291"/>
              <a:gd name="connsiteY20" fmla="*/ 425637 h 425637"/>
              <a:gd name="connsiteX21" fmla="*/ 350320 w 689291"/>
              <a:gd name="connsiteY21" fmla="*/ 425637 h 425637"/>
              <a:gd name="connsiteX22" fmla="*/ 345113 w 689291"/>
              <a:gd name="connsiteY22" fmla="*/ 420823 h 425637"/>
              <a:gd name="connsiteX23" fmla="*/ 340299 w 689291"/>
              <a:gd name="connsiteY23" fmla="*/ 425637 h 425637"/>
              <a:gd name="connsiteX24" fmla="*/ 327779 w 689291"/>
              <a:gd name="connsiteY24" fmla="*/ 425637 h 425637"/>
              <a:gd name="connsiteX25" fmla="*/ 332281 w 689291"/>
              <a:gd name="connsiteY25" fmla="*/ 414777 h 425637"/>
              <a:gd name="connsiteX26" fmla="*/ 345157 w 689291"/>
              <a:gd name="connsiteY26" fmla="*/ 409440 h 425637"/>
              <a:gd name="connsiteX27" fmla="*/ 257485 w 689291"/>
              <a:gd name="connsiteY27" fmla="*/ 409440 h 425637"/>
              <a:gd name="connsiteX28" fmla="*/ 270168 w 689291"/>
              <a:gd name="connsiteY28" fmla="*/ 414589 h 425637"/>
              <a:gd name="connsiteX29" fmla="*/ 275472 w 689291"/>
              <a:gd name="connsiteY29" fmla="*/ 425637 h 425637"/>
              <a:gd name="connsiteX30" fmla="*/ 262650 w 689291"/>
              <a:gd name="connsiteY30" fmla="*/ 425637 h 425637"/>
              <a:gd name="connsiteX31" fmla="*/ 257442 w 689291"/>
              <a:gd name="connsiteY31" fmla="*/ 420823 h 425637"/>
              <a:gd name="connsiteX32" fmla="*/ 252628 w 689291"/>
              <a:gd name="connsiteY32" fmla="*/ 425637 h 425637"/>
              <a:gd name="connsiteX33" fmla="*/ 240109 w 689291"/>
              <a:gd name="connsiteY33" fmla="*/ 425637 h 425637"/>
              <a:gd name="connsiteX34" fmla="*/ 244610 w 689291"/>
              <a:gd name="connsiteY34" fmla="*/ 414777 h 425637"/>
              <a:gd name="connsiteX35" fmla="*/ 257485 w 689291"/>
              <a:gd name="connsiteY35" fmla="*/ 409440 h 425637"/>
              <a:gd name="connsiteX36" fmla="*/ 169815 w 689291"/>
              <a:gd name="connsiteY36" fmla="*/ 409440 h 425637"/>
              <a:gd name="connsiteX37" fmla="*/ 182498 w 689291"/>
              <a:gd name="connsiteY37" fmla="*/ 414589 h 425637"/>
              <a:gd name="connsiteX38" fmla="*/ 187803 w 689291"/>
              <a:gd name="connsiteY38" fmla="*/ 425637 h 425637"/>
              <a:gd name="connsiteX39" fmla="*/ 175022 w 689291"/>
              <a:gd name="connsiteY39" fmla="*/ 425637 h 425637"/>
              <a:gd name="connsiteX40" fmla="*/ 169815 w 689291"/>
              <a:gd name="connsiteY40" fmla="*/ 420823 h 425637"/>
              <a:gd name="connsiteX41" fmla="*/ 165001 w 689291"/>
              <a:gd name="connsiteY41" fmla="*/ 425637 h 425637"/>
              <a:gd name="connsiteX42" fmla="*/ 152438 w 689291"/>
              <a:gd name="connsiteY42" fmla="*/ 425637 h 425637"/>
              <a:gd name="connsiteX43" fmla="*/ 156940 w 689291"/>
              <a:gd name="connsiteY43" fmla="*/ 414777 h 425637"/>
              <a:gd name="connsiteX44" fmla="*/ 169815 w 689291"/>
              <a:gd name="connsiteY44" fmla="*/ 409440 h 425637"/>
              <a:gd name="connsiteX45" fmla="*/ 75588 w 689291"/>
              <a:gd name="connsiteY45" fmla="*/ 409440 h 425637"/>
              <a:gd name="connsiteX46" fmla="*/ 88269 w 689291"/>
              <a:gd name="connsiteY46" fmla="*/ 414589 h 425637"/>
              <a:gd name="connsiteX47" fmla="*/ 93575 w 689291"/>
              <a:gd name="connsiteY47" fmla="*/ 425637 h 425637"/>
              <a:gd name="connsiteX48" fmla="*/ 80751 w 689291"/>
              <a:gd name="connsiteY48" fmla="*/ 425637 h 425637"/>
              <a:gd name="connsiteX49" fmla="*/ 75544 w 689291"/>
              <a:gd name="connsiteY49" fmla="*/ 420823 h 425637"/>
              <a:gd name="connsiteX50" fmla="*/ 71867 w 689291"/>
              <a:gd name="connsiteY50" fmla="*/ 424500 h 425637"/>
              <a:gd name="connsiteX51" fmla="*/ 59722 w 689291"/>
              <a:gd name="connsiteY51" fmla="*/ 421991 h 425637"/>
              <a:gd name="connsiteX52" fmla="*/ 62712 w 689291"/>
              <a:gd name="connsiteY52" fmla="*/ 414777 h 425637"/>
              <a:gd name="connsiteX53" fmla="*/ 75588 w 689291"/>
              <a:gd name="connsiteY53" fmla="*/ 409440 h 425637"/>
              <a:gd name="connsiteX54" fmla="*/ 566331 w 689291"/>
              <a:gd name="connsiteY54" fmla="*/ 409186 h 425637"/>
              <a:gd name="connsiteX55" fmla="*/ 572730 w 689291"/>
              <a:gd name="connsiteY55" fmla="*/ 415587 h 425637"/>
              <a:gd name="connsiteX56" fmla="*/ 572730 w 689291"/>
              <a:gd name="connsiteY56" fmla="*/ 425637 h 425637"/>
              <a:gd name="connsiteX57" fmla="*/ 559931 w 689291"/>
              <a:gd name="connsiteY57" fmla="*/ 425637 h 425637"/>
              <a:gd name="connsiteX58" fmla="*/ 559931 w 689291"/>
              <a:gd name="connsiteY58" fmla="*/ 415587 h 425637"/>
              <a:gd name="connsiteX59" fmla="*/ 566331 w 689291"/>
              <a:gd name="connsiteY59" fmla="*/ 409186 h 425637"/>
              <a:gd name="connsiteX60" fmla="*/ 478702 w 689291"/>
              <a:gd name="connsiteY60" fmla="*/ 409186 h 425637"/>
              <a:gd name="connsiteX61" fmla="*/ 485103 w 689291"/>
              <a:gd name="connsiteY61" fmla="*/ 415587 h 425637"/>
              <a:gd name="connsiteX62" fmla="*/ 485103 w 689291"/>
              <a:gd name="connsiteY62" fmla="*/ 425637 h 425637"/>
              <a:gd name="connsiteX63" fmla="*/ 482952 w 689291"/>
              <a:gd name="connsiteY63" fmla="*/ 425637 h 425637"/>
              <a:gd name="connsiteX64" fmla="*/ 472302 w 689291"/>
              <a:gd name="connsiteY64" fmla="*/ 425637 h 425637"/>
              <a:gd name="connsiteX65" fmla="*/ 472302 w 689291"/>
              <a:gd name="connsiteY65" fmla="*/ 415587 h 425637"/>
              <a:gd name="connsiteX66" fmla="*/ 478702 w 689291"/>
              <a:gd name="connsiteY66" fmla="*/ 409186 h 425637"/>
              <a:gd name="connsiteX67" fmla="*/ 391035 w 689291"/>
              <a:gd name="connsiteY67" fmla="*/ 409186 h 425637"/>
              <a:gd name="connsiteX68" fmla="*/ 397435 w 689291"/>
              <a:gd name="connsiteY68" fmla="*/ 415587 h 425637"/>
              <a:gd name="connsiteX69" fmla="*/ 397435 w 689291"/>
              <a:gd name="connsiteY69" fmla="*/ 425637 h 425637"/>
              <a:gd name="connsiteX70" fmla="*/ 387582 w 689291"/>
              <a:gd name="connsiteY70" fmla="*/ 425637 h 425637"/>
              <a:gd name="connsiteX71" fmla="*/ 384634 w 689291"/>
              <a:gd name="connsiteY71" fmla="*/ 425637 h 425637"/>
              <a:gd name="connsiteX72" fmla="*/ 384634 w 689291"/>
              <a:gd name="connsiteY72" fmla="*/ 415587 h 425637"/>
              <a:gd name="connsiteX73" fmla="*/ 391035 w 689291"/>
              <a:gd name="connsiteY73" fmla="*/ 409186 h 425637"/>
              <a:gd name="connsiteX74" fmla="*/ 609931 w 689291"/>
              <a:gd name="connsiteY74" fmla="*/ 408808 h 425637"/>
              <a:gd name="connsiteX75" fmla="*/ 622614 w 689291"/>
              <a:gd name="connsiteY75" fmla="*/ 413957 h 425637"/>
              <a:gd name="connsiteX76" fmla="*/ 626938 w 689291"/>
              <a:gd name="connsiteY76" fmla="*/ 422963 h 425637"/>
              <a:gd name="connsiteX77" fmla="*/ 615448 w 689291"/>
              <a:gd name="connsiteY77" fmla="*/ 425329 h 425637"/>
              <a:gd name="connsiteX78" fmla="*/ 609888 w 689291"/>
              <a:gd name="connsiteY78" fmla="*/ 420191 h 425637"/>
              <a:gd name="connsiteX79" fmla="*/ 604442 w 689291"/>
              <a:gd name="connsiteY79" fmla="*/ 425637 h 425637"/>
              <a:gd name="connsiteX80" fmla="*/ 592293 w 689291"/>
              <a:gd name="connsiteY80" fmla="*/ 425637 h 425637"/>
              <a:gd name="connsiteX81" fmla="*/ 597056 w 689291"/>
              <a:gd name="connsiteY81" fmla="*/ 414145 h 425637"/>
              <a:gd name="connsiteX82" fmla="*/ 609931 w 689291"/>
              <a:gd name="connsiteY82" fmla="*/ 408808 h 425637"/>
              <a:gd name="connsiteX83" fmla="*/ 522261 w 689291"/>
              <a:gd name="connsiteY83" fmla="*/ 408808 h 425637"/>
              <a:gd name="connsiteX84" fmla="*/ 534943 w 689291"/>
              <a:gd name="connsiteY84" fmla="*/ 413957 h 425637"/>
              <a:gd name="connsiteX85" fmla="*/ 540551 w 689291"/>
              <a:gd name="connsiteY85" fmla="*/ 425637 h 425637"/>
              <a:gd name="connsiteX86" fmla="*/ 528109 w 689291"/>
              <a:gd name="connsiteY86" fmla="*/ 425637 h 425637"/>
              <a:gd name="connsiteX87" fmla="*/ 522218 w 689291"/>
              <a:gd name="connsiteY87" fmla="*/ 420191 h 425637"/>
              <a:gd name="connsiteX88" fmla="*/ 516771 w 689291"/>
              <a:gd name="connsiteY88" fmla="*/ 425637 h 425637"/>
              <a:gd name="connsiteX89" fmla="*/ 504621 w 689291"/>
              <a:gd name="connsiteY89" fmla="*/ 425637 h 425637"/>
              <a:gd name="connsiteX90" fmla="*/ 509385 w 689291"/>
              <a:gd name="connsiteY90" fmla="*/ 414145 h 425637"/>
              <a:gd name="connsiteX91" fmla="*/ 522261 w 689291"/>
              <a:gd name="connsiteY91" fmla="*/ 408808 h 425637"/>
              <a:gd name="connsiteX92" fmla="*/ 434591 w 689291"/>
              <a:gd name="connsiteY92" fmla="*/ 408808 h 425637"/>
              <a:gd name="connsiteX93" fmla="*/ 447273 w 689291"/>
              <a:gd name="connsiteY93" fmla="*/ 413957 h 425637"/>
              <a:gd name="connsiteX94" fmla="*/ 452881 w 689291"/>
              <a:gd name="connsiteY94" fmla="*/ 425637 h 425637"/>
              <a:gd name="connsiteX95" fmla="*/ 440482 w 689291"/>
              <a:gd name="connsiteY95" fmla="*/ 425637 h 425637"/>
              <a:gd name="connsiteX96" fmla="*/ 434591 w 689291"/>
              <a:gd name="connsiteY96" fmla="*/ 420191 h 425637"/>
              <a:gd name="connsiteX97" fmla="*/ 429144 w 689291"/>
              <a:gd name="connsiteY97" fmla="*/ 425637 h 425637"/>
              <a:gd name="connsiteX98" fmla="*/ 416951 w 689291"/>
              <a:gd name="connsiteY98" fmla="*/ 425637 h 425637"/>
              <a:gd name="connsiteX99" fmla="*/ 421715 w 689291"/>
              <a:gd name="connsiteY99" fmla="*/ 414145 h 425637"/>
              <a:gd name="connsiteX100" fmla="*/ 434591 w 689291"/>
              <a:gd name="connsiteY100" fmla="*/ 408808 h 425637"/>
              <a:gd name="connsiteX101" fmla="*/ 313454 w 689291"/>
              <a:gd name="connsiteY101" fmla="*/ 357023 h 425637"/>
              <a:gd name="connsiteX102" fmla="*/ 306538 w 689291"/>
              <a:gd name="connsiteY102" fmla="*/ 364410 h 425637"/>
              <a:gd name="connsiteX103" fmla="*/ 306538 w 689291"/>
              <a:gd name="connsiteY103" fmla="*/ 379188 h 425637"/>
              <a:gd name="connsiteX104" fmla="*/ 313927 w 689291"/>
              <a:gd name="connsiteY104" fmla="*/ 386017 h 425637"/>
              <a:gd name="connsiteX105" fmla="*/ 320756 w 689291"/>
              <a:gd name="connsiteY105" fmla="*/ 379188 h 425637"/>
              <a:gd name="connsiteX106" fmla="*/ 320756 w 689291"/>
              <a:gd name="connsiteY106" fmla="*/ 364410 h 425637"/>
              <a:gd name="connsiteX107" fmla="*/ 313454 w 689291"/>
              <a:gd name="connsiteY107" fmla="*/ 357023 h 425637"/>
              <a:gd name="connsiteX108" fmla="*/ 225786 w 689291"/>
              <a:gd name="connsiteY108" fmla="*/ 357023 h 425637"/>
              <a:gd name="connsiteX109" fmla="*/ 218870 w 689291"/>
              <a:gd name="connsiteY109" fmla="*/ 364410 h 425637"/>
              <a:gd name="connsiteX110" fmla="*/ 218870 w 689291"/>
              <a:gd name="connsiteY110" fmla="*/ 379188 h 425637"/>
              <a:gd name="connsiteX111" fmla="*/ 226258 w 689291"/>
              <a:gd name="connsiteY111" fmla="*/ 386017 h 425637"/>
              <a:gd name="connsiteX112" fmla="*/ 233088 w 689291"/>
              <a:gd name="connsiteY112" fmla="*/ 379188 h 425637"/>
              <a:gd name="connsiteX113" fmla="*/ 233088 w 689291"/>
              <a:gd name="connsiteY113" fmla="*/ 364410 h 425637"/>
              <a:gd name="connsiteX114" fmla="*/ 225786 w 689291"/>
              <a:gd name="connsiteY114" fmla="*/ 357023 h 425637"/>
              <a:gd name="connsiteX115" fmla="*/ 138115 w 689291"/>
              <a:gd name="connsiteY115" fmla="*/ 357023 h 425637"/>
              <a:gd name="connsiteX116" fmla="*/ 131199 w 689291"/>
              <a:gd name="connsiteY116" fmla="*/ 364410 h 425637"/>
              <a:gd name="connsiteX117" fmla="*/ 131199 w 689291"/>
              <a:gd name="connsiteY117" fmla="*/ 379188 h 425637"/>
              <a:gd name="connsiteX118" fmla="*/ 138588 w 689291"/>
              <a:gd name="connsiteY118" fmla="*/ 386017 h 425637"/>
              <a:gd name="connsiteX119" fmla="*/ 145418 w 689291"/>
              <a:gd name="connsiteY119" fmla="*/ 379188 h 425637"/>
              <a:gd name="connsiteX120" fmla="*/ 145418 w 689291"/>
              <a:gd name="connsiteY120" fmla="*/ 364410 h 425637"/>
              <a:gd name="connsiteX121" fmla="*/ 138115 w 689291"/>
              <a:gd name="connsiteY121" fmla="*/ 357023 h 425637"/>
              <a:gd name="connsiteX122" fmla="*/ 43885 w 689291"/>
              <a:gd name="connsiteY122" fmla="*/ 357023 h 425637"/>
              <a:gd name="connsiteX123" fmla="*/ 36969 w 689291"/>
              <a:gd name="connsiteY123" fmla="*/ 364410 h 425637"/>
              <a:gd name="connsiteX124" fmla="*/ 36969 w 689291"/>
              <a:gd name="connsiteY124" fmla="*/ 379188 h 425637"/>
              <a:gd name="connsiteX125" fmla="*/ 44358 w 689291"/>
              <a:gd name="connsiteY125" fmla="*/ 386017 h 425637"/>
              <a:gd name="connsiteX126" fmla="*/ 51187 w 689291"/>
              <a:gd name="connsiteY126" fmla="*/ 379188 h 425637"/>
              <a:gd name="connsiteX127" fmla="*/ 51187 w 689291"/>
              <a:gd name="connsiteY127" fmla="*/ 364410 h 425637"/>
              <a:gd name="connsiteX128" fmla="*/ 43885 w 689291"/>
              <a:gd name="connsiteY128" fmla="*/ 357023 h 425637"/>
              <a:gd name="connsiteX129" fmla="*/ 672460 w 689291"/>
              <a:gd name="connsiteY129" fmla="*/ 356390 h 425637"/>
              <a:gd name="connsiteX130" fmla="*/ 665544 w 689291"/>
              <a:gd name="connsiteY130" fmla="*/ 363778 h 425637"/>
              <a:gd name="connsiteX131" fmla="*/ 665544 w 689291"/>
              <a:gd name="connsiteY131" fmla="*/ 378555 h 425637"/>
              <a:gd name="connsiteX132" fmla="*/ 672932 w 689291"/>
              <a:gd name="connsiteY132" fmla="*/ 385385 h 425637"/>
              <a:gd name="connsiteX133" fmla="*/ 679761 w 689291"/>
              <a:gd name="connsiteY133" fmla="*/ 378555 h 425637"/>
              <a:gd name="connsiteX134" fmla="*/ 679761 w 689291"/>
              <a:gd name="connsiteY134" fmla="*/ 363778 h 425637"/>
              <a:gd name="connsiteX135" fmla="*/ 672460 w 689291"/>
              <a:gd name="connsiteY135" fmla="*/ 356390 h 425637"/>
              <a:gd name="connsiteX136" fmla="*/ 578229 w 689291"/>
              <a:gd name="connsiteY136" fmla="*/ 356390 h 425637"/>
              <a:gd name="connsiteX137" fmla="*/ 571313 w 689291"/>
              <a:gd name="connsiteY137" fmla="*/ 363778 h 425637"/>
              <a:gd name="connsiteX138" fmla="*/ 571313 w 689291"/>
              <a:gd name="connsiteY138" fmla="*/ 378555 h 425637"/>
              <a:gd name="connsiteX139" fmla="*/ 578702 w 689291"/>
              <a:gd name="connsiteY139" fmla="*/ 385385 h 425637"/>
              <a:gd name="connsiteX140" fmla="*/ 585531 w 689291"/>
              <a:gd name="connsiteY140" fmla="*/ 378555 h 425637"/>
              <a:gd name="connsiteX141" fmla="*/ 585531 w 689291"/>
              <a:gd name="connsiteY141" fmla="*/ 363778 h 425637"/>
              <a:gd name="connsiteX142" fmla="*/ 578229 w 689291"/>
              <a:gd name="connsiteY142" fmla="*/ 356390 h 425637"/>
              <a:gd name="connsiteX143" fmla="*/ 490561 w 689291"/>
              <a:gd name="connsiteY143" fmla="*/ 356390 h 425637"/>
              <a:gd name="connsiteX144" fmla="*/ 483646 w 689291"/>
              <a:gd name="connsiteY144" fmla="*/ 363778 h 425637"/>
              <a:gd name="connsiteX145" fmla="*/ 483646 w 689291"/>
              <a:gd name="connsiteY145" fmla="*/ 378555 h 425637"/>
              <a:gd name="connsiteX146" fmla="*/ 491033 w 689291"/>
              <a:gd name="connsiteY146" fmla="*/ 385385 h 425637"/>
              <a:gd name="connsiteX147" fmla="*/ 497863 w 689291"/>
              <a:gd name="connsiteY147" fmla="*/ 378555 h 425637"/>
              <a:gd name="connsiteX148" fmla="*/ 497863 w 689291"/>
              <a:gd name="connsiteY148" fmla="*/ 363778 h 425637"/>
              <a:gd name="connsiteX149" fmla="*/ 490561 w 689291"/>
              <a:gd name="connsiteY149" fmla="*/ 356390 h 425637"/>
              <a:gd name="connsiteX150" fmla="*/ 402891 w 689291"/>
              <a:gd name="connsiteY150" fmla="*/ 356390 h 425637"/>
              <a:gd name="connsiteX151" fmla="*/ 395975 w 689291"/>
              <a:gd name="connsiteY151" fmla="*/ 363778 h 425637"/>
              <a:gd name="connsiteX152" fmla="*/ 395975 w 689291"/>
              <a:gd name="connsiteY152" fmla="*/ 378555 h 425637"/>
              <a:gd name="connsiteX153" fmla="*/ 403363 w 689291"/>
              <a:gd name="connsiteY153" fmla="*/ 385385 h 425637"/>
              <a:gd name="connsiteX154" fmla="*/ 410192 w 689291"/>
              <a:gd name="connsiteY154" fmla="*/ 378555 h 425637"/>
              <a:gd name="connsiteX155" fmla="*/ 410192 w 689291"/>
              <a:gd name="connsiteY155" fmla="*/ 363778 h 425637"/>
              <a:gd name="connsiteX156" fmla="*/ 402891 w 689291"/>
              <a:gd name="connsiteY156" fmla="*/ 356390 h 425637"/>
              <a:gd name="connsiteX157" fmla="*/ 313927 w 689291"/>
              <a:gd name="connsiteY157" fmla="*/ 345640 h 425637"/>
              <a:gd name="connsiteX158" fmla="*/ 332139 w 689291"/>
              <a:gd name="connsiteY158" fmla="*/ 364410 h 425637"/>
              <a:gd name="connsiteX159" fmla="*/ 332139 w 689291"/>
              <a:gd name="connsiteY159" fmla="*/ 379188 h 425637"/>
              <a:gd name="connsiteX160" fmla="*/ 313927 w 689291"/>
              <a:gd name="connsiteY160" fmla="*/ 397400 h 425637"/>
              <a:gd name="connsiteX161" fmla="*/ 295198 w 689291"/>
              <a:gd name="connsiteY161" fmla="*/ 379660 h 425637"/>
              <a:gd name="connsiteX162" fmla="*/ 295156 w 689291"/>
              <a:gd name="connsiteY162" fmla="*/ 364410 h 425637"/>
              <a:gd name="connsiteX163" fmla="*/ 313927 w 689291"/>
              <a:gd name="connsiteY163" fmla="*/ 345640 h 425637"/>
              <a:gd name="connsiteX164" fmla="*/ 226258 w 689291"/>
              <a:gd name="connsiteY164" fmla="*/ 345640 h 425637"/>
              <a:gd name="connsiteX165" fmla="*/ 244471 w 689291"/>
              <a:gd name="connsiteY165" fmla="*/ 364410 h 425637"/>
              <a:gd name="connsiteX166" fmla="*/ 244471 w 689291"/>
              <a:gd name="connsiteY166" fmla="*/ 379188 h 425637"/>
              <a:gd name="connsiteX167" fmla="*/ 226258 w 689291"/>
              <a:gd name="connsiteY167" fmla="*/ 397400 h 425637"/>
              <a:gd name="connsiteX168" fmla="*/ 207530 w 689291"/>
              <a:gd name="connsiteY168" fmla="*/ 379660 h 425637"/>
              <a:gd name="connsiteX169" fmla="*/ 207488 w 689291"/>
              <a:gd name="connsiteY169" fmla="*/ 364410 h 425637"/>
              <a:gd name="connsiteX170" fmla="*/ 226258 w 689291"/>
              <a:gd name="connsiteY170" fmla="*/ 345640 h 425637"/>
              <a:gd name="connsiteX171" fmla="*/ 138588 w 689291"/>
              <a:gd name="connsiteY171" fmla="*/ 345640 h 425637"/>
              <a:gd name="connsiteX172" fmla="*/ 156800 w 689291"/>
              <a:gd name="connsiteY172" fmla="*/ 364410 h 425637"/>
              <a:gd name="connsiteX173" fmla="*/ 156800 w 689291"/>
              <a:gd name="connsiteY173" fmla="*/ 379188 h 425637"/>
              <a:gd name="connsiteX174" fmla="*/ 138588 w 689291"/>
              <a:gd name="connsiteY174" fmla="*/ 397400 h 425637"/>
              <a:gd name="connsiteX175" fmla="*/ 119860 w 689291"/>
              <a:gd name="connsiteY175" fmla="*/ 379660 h 425637"/>
              <a:gd name="connsiteX176" fmla="*/ 119817 w 689291"/>
              <a:gd name="connsiteY176" fmla="*/ 364410 h 425637"/>
              <a:gd name="connsiteX177" fmla="*/ 138588 w 689291"/>
              <a:gd name="connsiteY177" fmla="*/ 345640 h 425637"/>
              <a:gd name="connsiteX178" fmla="*/ 44358 w 689291"/>
              <a:gd name="connsiteY178" fmla="*/ 345640 h 425637"/>
              <a:gd name="connsiteX179" fmla="*/ 62570 w 689291"/>
              <a:gd name="connsiteY179" fmla="*/ 364410 h 425637"/>
              <a:gd name="connsiteX180" fmla="*/ 62570 w 689291"/>
              <a:gd name="connsiteY180" fmla="*/ 379188 h 425637"/>
              <a:gd name="connsiteX181" fmla="*/ 44358 w 689291"/>
              <a:gd name="connsiteY181" fmla="*/ 397400 h 425637"/>
              <a:gd name="connsiteX182" fmla="*/ 25629 w 689291"/>
              <a:gd name="connsiteY182" fmla="*/ 379660 h 425637"/>
              <a:gd name="connsiteX183" fmla="*/ 25587 w 689291"/>
              <a:gd name="connsiteY183" fmla="*/ 364410 h 425637"/>
              <a:gd name="connsiteX184" fmla="*/ 44358 w 689291"/>
              <a:gd name="connsiteY184" fmla="*/ 345640 h 425637"/>
              <a:gd name="connsiteX185" fmla="*/ 357483 w 689291"/>
              <a:gd name="connsiteY185" fmla="*/ 345421 h 425637"/>
              <a:gd name="connsiteX186" fmla="*/ 363884 w 689291"/>
              <a:gd name="connsiteY186" fmla="*/ 351822 h 425637"/>
              <a:gd name="connsiteX187" fmla="*/ 363884 w 689291"/>
              <a:gd name="connsiteY187" fmla="*/ 390609 h 425637"/>
              <a:gd name="connsiteX188" fmla="*/ 357483 w 689291"/>
              <a:gd name="connsiteY188" fmla="*/ 397009 h 425637"/>
              <a:gd name="connsiteX189" fmla="*/ 351083 w 689291"/>
              <a:gd name="connsiteY189" fmla="*/ 390609 h 425637"/>
              <a:gd name="connsiteX190" fmla="*/ 351083 w 689291"/>
              <a:gd name="connsiteY190" fmla="*/ 351822 h 425637"/>
              <a:gd name="connsiteX191" fmla="*/ 357483 w 689291"/>
              <a:gd name="connsiteY191" fmla="*/ 345421 h 425637"/>
              <a:gd name="connsiteX192" fmla="*/ 269812 w 689291"/>
              <a:gd name="connsiteY192" fmla="*/ 345421 h 425637"/>
              <a:gd name="connsiteX193" fmla="*/ 276213 w 689291"/>
              <a:gd name="connsiteY193" fmla="*/ 351822 h 425637"/>
              <a:gd name="connsiteX194" fmla="*/ 276213 w 689291"/>
              <a:gd name="connsiteY194" fmla="*/ 390609 h 425637"/>
              <a:gd name="connsiteX195" fmla="*/ 269812 w 689291"/>
              <a:gd name="connsiteY195" fmla="*/ 397009 h 425637"/>
              <a:gd name="connsiteX196" fmla="*/ 263412 w 689291"/>
              <a:gd name="connsiteY196" fmla="*/ 390609 h 425637"/>
              <a:gd name="connsiteX197" fmla="*/ 263412 w 689291"/>
              <a:gd name="connsiteY197" fmla="*/ 351822 h 425637"/>
              <a:gd name="connsiteX198" fmla="*/ 269812 w 689291"/>
              <a:gd name="connsiteY198" fmla="*/ 345421 h 425637"/>
              <a:gd name="connsiteX199" fmla="*/ 182142 w 689291"/>
              <a:gd name="connsiteY199" fmla="*/ 345421 h 425637"/>
              <a:gd name="connsiteX200" fmla="*/ 188543 w 689291"/>
              <a:gd name="connsiteY200" fmla="*/ 351822 h 425637"/>
              <a:gd name="connsiteX201" fmla="*/ 188543 w 689291"/>
              <a:gd name="connsiteY201" fmla="*/ 390609 h 425637"/>
              <a:gd name="connsiteX202" fmla="*/ 182142 w 689291"/>
              <a:gd name="connsiteY202" fmla="*/ 397009 h 425637"/>
              <a:gd name="connsiteX203" fmla="*/ 175742 w 689291"/>
              <a:gd name="connsiteY203" fmla="*/ 390609 h 425637"/>
              <a:gd name="connsiteX204" fmla="*/ 175742 w 689291"/>
              <a:gd name="connsiteY204" fmla="*/ 351822 h 425637"/>
              <a:gd name="connsiteX205" fmla="*/ 182142 w 689291"/>
              <a:gd name="connsiteY205" fmla="*/ 345421 h 425637"/>
              <a:gd name="connsiteX206" fmla="*/ 87914 w 689291"/>
              <a:gd name="connsiteY206" fmla="*/ 345421 h 425637"/>
              <a:gd name="connsiteX207" fmla="*/ 94315 w 689291"/>
              <a:gd name="connsiteY207" fmla="*/ 351822 h 425637"/>
              <a:gd name="connsiteX208" fmla="*/ 94315 w 689291"/>
              <a:gd name="connsiteY208" fmla="*/ 390609 h 425637"/>
              <a:gd name="connsiteX209" fmla="*/ 87914 w 689291"/>
              <a:gd name="connsiteY209" fmla="*/ 397009 h 425637"/>
              <a:gd name="connsiteX210" fmla="*/ 81514 w 689291"/>
              <a:gd name="connsiteY210" fmla="*/ 390609 h 425637"/>
              <a:gd name="connsiteX211" fmla="*/ 81514 w 689291"/>
              <a:gd name="connsiteY211" fmla="*/ 351822 h 425637"/>
              <a:gd name="connsiteX212" fmla="*/ 87914 w 689291"/>
              <a:gd name="connsiteY212" fmla="*/ 345421 h 425637"/>
              <a:gd name="connsiteX213" fmla="*/ 243 w 689291"/>
              <a:gd name="connsiteY213" fmla="*/ 345421 h 425637"/>
              <a:gd name="connsiteX214" fmla="*/ 6644 w 689291"/>
              <a:gd name="connsiteY214" fmla="*/ 351822 h 425637"/>
              <a:gd name="connsiteX215" fmla="*/ 6644 w 689291"/>
              <a:gd name="connsiteY215" fmla="*/ 377865 h 425637"/>
              <a:gd name="connsiteX216" fmla="*/ 6035 w 689291"/>
              <a:gd name="connsiteY216" fmla="*/ 376928 h 425637"/>
              <a:gd name="connsiteX217" fmla="*/ 0 w 689291"/>
              <a:gd name="connsiteY217" fmla="*/ 345752 h 425637"/>
              <a:gd name="connsiteX218" fmla="*/ 21 w 689291"/>
              <a:gd name="connsiteY218" fmla="*/ 345643 h 425637"/>
              <a:gd name="connsiteX219" fmla="*/ 672932 w 689291"/>
              <a:gd name="connsiteY219" fmla="*/ 345007 h 425637"/>
              <a:gd name="connsiteX220" fmla="*/ 685953 w 689291"/>
              <a:gd name="connsiteY220" fmla="*/ 351091 h 425637"/>
              <a:gd name="connsiteX221" fmla="*/ 689291 w 689291"/>
              <a:gd name="connsiteY221" fmla="*/ 359249 h 425637"/>
              <a:gd name="connsiteX222" fmla="*/ 685814 w 689291"/>
              <a:gd name="connsiteY222" fmla="*/ 376928 h 425637"/>
              <a:gd name="connsiteX223" fmla="*/ 672785 w 689291"/>
              <a:gd name="connsiteY223" fmla="*/ 396708 h 425637"/>
              <a:gd name="connsiteX224" fmla="*/ 660250 w 689291"/>
              <a:gd name="connsiteY224" fmla="*/ 391618 h 425637"/>
              <a:gd name="connsiteX225" fmla="*/ 654204 w 689291"/>
              <a:gd name="connsiteY225" fmla="*/ 379027 h 425637"/>
              <a:gd name="connsiteX226" fmla="*/ 654161 w 689291"/>
              <a:gd name="connsiteY226" fmla="*/ 363778 h 425637"/>
              <a:gd name="connsiteX227" fmla="*/ 672932 w 689291"/>
              <a:gd name="connsiteY227" fmla="*/ 345007 h 425637"/>
              <a:gd name="connsiteX228" fmla="*/ 578702 w 689291"/>
              <a:gd name="connsiteY228" fmla="*/ 345007 h 425637"/>
              <a:gd name="connsiteX229" fmla="*/ 596915 w 689291"/>
              <a:gd name="connsiteY229" fmla="*/ 363778 h 425637"/>
              <a:gd name="connsiteX230" fmla="*/ 596915 w 689291"/>
              <a:gd name="connsiteY230" fmla="*/ 378555 h 425637"/>
              <a:gd name="connsiteX231" fmla="*/ 578702 w 689291"/>
              <a:gd name="connsiteY231" fmla="*/ 396767 h 425637"/>
              <a:gd name="connsiteX232" fmla="*/ 559974 w 689291"/>
              <a:gd name="connsiteY232" fmla="*/ 379027 h 425637"/>
              <a:gd name="connsiteX233" fmla="*/ 559931 w 689291"/>
              <a:gd name="connsiteY233" fmla="*/ 363778 h 425637"/>
              <a:gd name="connsiteX234" fmla="*/ 578702 w 689291"/>
              <a:gd name="connsiteY234" fmla="*/ 345007 h 425637"/>
              <a:gd name="connsiteX235" fmla="*/ 491033 w 689291"/>
              <a:gd name="connsiteY235" fmla="*/ 345007 h 425637"/>
              <a:gd name="connsiteX236" fmla="*/ 509246 w 689291"/>
              <a:gd name="connsiteY236" fmla="*/ 363778 h 425637"/>
              <a:gd name="connsiteX237" fmla="*/ 509246 w 689291"/>
              <a:gd name="connsiteY237" fmla="*/ 378555 h 425637"/>
              <a:gd name="connsiteX238" fmla="*/ 491033 w 689291"/>
              <a:gd name="connsiteY238" fmla="*/ 396767 h 425637"/>
              <a:gd name="connsiteX239" fmla="*/ 472305 w 689291"/>
              <a:gd name="connsiteY239" fmla="*/ 379027 h 425637"/>
              <a:gd name="connsiteX240" fmla="*/ 472262 w 689291"/>
              <a:gd name="connsiteY240" fmla="*/ 363778 h 425637"/>
              <a:gd name="connsiteX241" fmla="*/ 491033 w 689291"/>
              <a:gd name="connsiteY241" fmla="*/ 345007 h 425637"/>
              <a:gd name="connsiteX242" fmla="*/ 403363 w 689291"/>
              <a:gd name="connsiteY242" fmla="*/ 345007 h 425637"/>
              <a:gd name="connsiteX243" fmla="*/ 421576 w 689291"/>
              <a:gd name="connsiteY243" fmla="*/ 363778 h 425637"/>
              <a:gd name="connsiteX244" fmla="*/ 421576 w 689291"/>
              <a:gd name="connsiteY244" fmla="*/ 378555 h 425637"/>
              <a:gd name="connsiteX245" fmla="*/ 403363 w 689291"/>
              <a:gd name="connsiteY245" fmla="*/ 396767 h 425637"/>
              <a:gd name="connsiteX246" fmla="*/ 384635 w 689291"/>
              <a:gd name="connsiteY246" fmla="*/ 379027 h 425637"/>
              <a:gd name="connsiteX247" fmla="*/ 384592 w 689291"/>
              <a:gd name="connsiteY247" fmla="*/ 363778 h 425637"/>
              <a:gd name="connsiteX248" fmla="*/ 403363 w 689291"/>
              <a:gd name="connsiteY248" fmla="*/ 345007 h 425637"/>
              <a:gd name="connsiteX249" fmla="*/ 622258 w 689291"/>
              <a:gd name="connsiteY249" fmla="*/ 344788 h 425637"/>
              <a:gd name="connsiteX250" fmla="*/ 628659 w 689291"/>
              <a:gd name="connsiteY250" fmla="*/ 351189 h 425637"/>
              <a:gd name="connsiteX251" fmla="*/ 628659 w 689291"/>
              <a:gd name="connsiteY251" fmla="*/ 389976 h 425637"/>
              <a:gd name="connsiteX252" fmla="*/ 622258 w 689291"/>
              <a:gd name="connsiteY252" fmla="*/ 396376 h 425637"/>
              <a:gd name="connsiteX253" fmla="*/ 615858 w 689291"/>
              <a:gd name="connsiteY253" fmla="*/ 389976 h 425637"/>
              <a:gd name="connsiteX254" fmla="*/ 615858 w 689291"/>
              <a:gd name="connsiteY254" fmla="*/ 351189 h 425637"/>
              <a:gd name="connsiteX255" fmla="*/ 622258 w 689291"/>
              <a:gd name="connsiteY255" fmla="*/ 344788 h 425637"/>
              <a:gd name="connsiteX256" fmla="*/ 534587 w 689291"/>
              <a:gd name="connsiteY256" fmla="*/ 344788 h 425637"/>
              <a:gd name="connsiteX257" fmla="*/ 540988 w 689291"/>
              <a:gd name="connsiteY257" fmla="*/ 351189 h 425637"/>
              <a:gd name="connsiteX258" fmla="*/ 540988 w 689291"/>
              <a:gd name="connsiteY258" fmla="*/ 389976 h 425637"/>
              <a:gd name="connsiteX259" fmla="*/ 534587 w 689291"/>
              <a:gd name="connsiteY259" fmla="*/ 396376 h 425637"/>
              <a:gd name="connsiteX260" fmla="*/ 528187 w 689291"/>
              <a:gd name="connsiteY260" fmla="*/ 389976 h 425637"/>
              <a:gd name="connsiteX261" fmla="*/ 528187 w 689291"/>
              <a:gd name="connsiteY261" fmla="*/ 351189 h 425637"/>
              <a:gd name="connsiteX262" fmla="*/ 534587 w 689291"/>
              <a:gd name="connsiteY262" fmla="*/ 344788 h 425637"/>
              <a:gd name="connsiteX263" fmla="*/ 446917 w 689291"/>
              <a:gd name="connsiteY263" fmla="*/ 344788 h 425637"/>
              <a:gd name="connsiteX264" fmla="*/ 453317 w 689291"/>
              <a:gd name="connsiteY264" fmla="*/ 351189 h 425637"/>
              <a:gd name="connsiteX265" fmla="*/ 453317 w 689291"/>
              <a:gd name="connsiteY265" fmla="*/ 389976 h 425637"/>
              <a:gd name="connsiteX266" fmla="*/ 446917 w 689291"/>
              <a:gd name="connsiteY266" fmla="*/ 396376 h 425637"/>
              <a:gd name="connsiteX267" fmla="*/ 440517 w 689291"/>
              <a:gd name="connsiteY267" fmla="*/ 389976 h 425637"/>
              <a:gd name="connsiteX268" fmla="*/ 440517 w 689291"/>
              <a:gd name="connsiteY268" fmla="*/ 351189 h 425637"/>
              <a:gd name="connsiteX269" fmla="*/ 446917 w 689291"/>
              <a:gd name="connsiteY269" fmla="*/ 344788 h 425637"/>
              <a:gd name="connsiteX270" fmla="*/ 6362 w 689291"/>
              <a:gd name="connsiteY270" fmla="*/ 314325 h 425637"/>
              <a:gd name="connsiteX271" fmla="*/ 5790 w 689291"/>
              <a:gd name="connsiteY271" fmla="*/ 315682 h 425637"/>
              <a:gd name="connsiteX272" fmla="*/ 5918 w 689291"/>
              <a:gd name="connsiteY272" fmla="*/ 315015 h 425637"/>
              <a:gd name="connsiteX273" fmla="*/ 345113 w 689291"/>
              <a:gd name="connsiteY273" fmla="*/ 291947 h 425637"/>
              <a:gd name="connsiteX274" fmla="*/ 338283 w 689291"/>
              <a:gd name="connsiteY274" fmla="*/ 298777 h 425637"/>
              <a:gd name="connsiteX275" fmla="*/ 338283 w 689291"/>
              <a:gd name="connsiteY275" fmla="*/ 313553 h 425637"/>
              <a:gd name="connsiteX276" fmla="*/ 345585 w 689291"/>
              <a:gd name="connsiteY276" fmla="*/ 320942 h 425637"/>
              <a:gd name="connsiteX277" fmla="*/ 352501 w 689291"/>
              <a:gd name="connsiteY277" fmla="*/ 313553 h 425637"/>
              <a:gd name="connsiteX278" fmla="*/ 352501 w 689291"/>
              <a:gd name="connsiteY278" fmla="*/ 298777 h 425637"/>
              <a:gd name="connsiteX279" fmla="*/ 345113 w 689291"/>
              <a:gd name="connsiteY279" fmla="*/ 291947 h 425637"/>
              <a:gd name="connsiteX280" fmla="*/ 257442 w 689291"/>
              <a:gd name="connsiteY280" fmla="*/ 291947 h 425637"/>
              <a:gd name="connsiteX281" fmla="*/ 250612 w 689291"/>
              <a:gd name="connsiteY281" fmla="*/ 298777 h 425637"/>
              <a:gd name="connsiteX282" fmla="*/ 250612 w 689291"/>
              <a:gd name="connsiteY282" fmla="*/ 313553 h 425637"/>
              <a:gd name="connsiteX283" fmla="*/ 257915 w 689291"/>
              <a:gd name="connsiteY283" fmla="*/ 320942 h 425637"/>
              <a:gd name="connsiteX284" fmla="*/ 264831 w 689291"/>
              <a:gd name="connsiteY284" fmla="*/ 313553 h 425637"/>
              <a:gd name="connsiteX285" fmla="*/ 264831 w 689291"/>
              <a:gd name="connsiteY285" fmla="*/ 298777 h 425637"/>
              <a:gd name="connsiteX286" fmla="*/ 257442 w 689291"/>
              <a:gd name="connsiteY286" fmla="*/ 291947 h 425637"/>
              <a:gd name="connsiteX287" fmla="*/ 169815 w 689291"/>
              <a:gd name="connsiteY287" fmla="*/ 291947 h 425637"/>
              <a:gd name="connsiteX288" fmla="*/ 162985 w 689291"/>
              <a:gd name="connsiteY288" fmla="*/ 298777 h 425637"/>
              <a:gd name="connsiteX289" fmla="*/ 162985 w 689291"/>
              <a:gd name="connsiteY289" fmla="*/ 313553 h 425637"/>
              <a:gd name="connsiteX290" fmla="*/ 170288 w 689291"/>
              <a:gd name="connsiteY290" fmla="*/ 320942 h 425637"/>
              <a:gd name="connsiteX291" fmla="*/ 177202 w 689291"/>
              <a:gd name="connsiteY291" fmla="*/ 313553 h 425637"/>
              <a:gd name="connsiteX292" fmla="*/ 177202 w 689291"/>
              <a:gd name="connsiteY292" fmla="*/ 298777 h 425637"/>
              <a:gd name="connsiteX293" fmla="*/ 169815 w 689291"/>
              <a:gd name="connsiteY293" fmla="*/ 291947 h 425637"/>
              <a:gd name="connsiteX294" fmla="*/ 75544 w 689291"/>
              <a:gd name="connsiteY294" fmla="*/ 291947 h 425637"/>
              <a:gd name="connsiteX295" fmla="*/ 68714 w 689291"/>
              <a:gd name="connsiteY295" fmla="*/ 298777 h 425637"/>
              <a:gd name="connsiteX296" fmla="*/ 68714 w 689291"/>
              <a:gd name="connsiteY296" fmla="*/ 313553 h 425637"/>
              <a:gd name="connsiteX297" fmla="*/ 76017 w 689291"/>
              <a:gd name="connsiteY297" fmla="*/ 320942 h 425637"/>
              <a:gd name="connsiteX298" fmla="*/ 82932 w 689291"/>
              <a:gd name="connsiteY298" fmla="*/ 313553 h 425637"/>
              <a:gd name="connsiteX299" fmla="*/ 82932 w 689291"/>
              <a:gd name="connsiteY299" fmla="*/ 298777 h 425637"/>
              <a:gd name="connsiteX300" fmla="*/ 75544 w 689291"/>
              <a:gd name="connsiteY300" fmla="*/ 291947 h 425637"/>
              <a:gd name="connsiteX301" fmla="*/ 609888 w 689291"/>
              <a:gd name="connsiteY301" fmla="*/ 291315 h 425637"/>
              <a:gd name="connsiteX302" fmla="*/ 603059 w 689291"/>
              <a:gd name="connsiteY302" fmla="*/ 298144 h 425637"/>
              <a:gd name="connsiteX303" fmla="*/ 603059 w 689291"/>
              <a:gd name="connsiteY303" fmla="*/ 312921 h 425637"/>
              <a:gd name="connsiteX304" fmla="*/ 610361 w 689291"/>
              <a:gd name="connsiteY304" fmla="*/ 320309 h 425637"/>
              <a:gd name="connsiteX305" fmla="*/ 617277 w 689291"/>
              <a:gd name="connsiteY305" fmla="*/ 312921 h 425637"/>
              <a:gd name="connsiteX306" fmla="*/ 617277 w 689291"/>
              <a:gd name="connsiteY306" fmla="*/ 298144 h 425637"/>
              <a:gd name="connsiteX307" fmla="*/ 609888 w 689291"/>
              <a:gd name="connsiteY307" fmla="*/ 291315 h 425637"/>
              <a:gd name="connsiteX308" fmla="*/ 522218 w 689291"/>
              <a:gd name="connsiteY308" fmla="*/ 291315 h 425637"/>
              <a:gd name="connsiteX309" fmla="*/ 515387 w 689291"/>
              <a:gd name="connsiteY309" fmla="*/ 298144 h 425637"/>
              <a:gd name="connsiteX310" fmla="*/ 515387 w 689291"/>
              <a:gd name="connsiteY310" fmla="*/ 312921 h 425637"/>
              <a:gd name="connsiteX311" fmla="*/ 522690 w 689291"/>
              <a:gd name="connsiteY311" fmla="*/ 320309 h 425637"/>
              <a:gd name="connsiteX312" fmla="*/ 529606 w 689291"/>
              <a:gd name="connsiteY312" fmla="*/ 312921 h 425637"/>
              <a:gd name="connsiteX313" fmla="*/ 529606 w 689291"/>
              <a:gd name="connsiteY313" fmla="*/ 298144 h 425637"/>
              <a:gd name="connsiteX314" fmla="*/ 522218 w 689291"/>
              <a:gd name="connsiteY314" fmla="*/ 291315 h 425637"/>
              <a:gd name="connsiteX315" fmla="*/ 434591 w 689291"/>
              <a:gd name="connsiteY315" fmla="*/ 291315 h 425637"/>
              <a:gd name="connsiteX316" fmla="*/ 427761 w 689291"/>
              <a:gd name="connsiteY316" fmla="*/ 298144 h 425637"/>
              <a:gd name="connsiteX317" fmla="*/ 427761 w 689291"/>
              <a:gd name="connsiteY317" fmla="*/ 312921 h 425637"/>
              <a:gd name="connsiteX318" fmla="*/ 435062 w 689291"/>
              <a:gd name="connsiteY318" fmla="*/ 320309 h 425637"/>
              <a:gd name="connsiteX319" fmla="*/ 441978 w 689291"/>
              <a:gd name="connsiteY319" fmla="*/ 312921 h 425637"/>
              <a:gd name="connsiteX320" fmla="*/ 441978 w 689291"/>
              <a:gd name="connsiteY320" fmla="*/ 298144 h 425637"/>
              <a:gd name="connsiteX321" fmla="*/ 434591 w 689291"/>
              <a:gd name="connsiteY321" fmla="*/ 291315 h 425637"/>
              <a:gd name="connsiteX322" fmla="*/ 658782 w 689291"/>
              <a:gd name="connsiteY322" fmla="*/ 282090 h 425637"/>
              <a:gd name="connsiteX323" fmla="*/ 667001 w 689291"/>
              <a:gd name="connsiteY323" fmla="*/ 287751 h 425637"/>
              <a:gd name="connsiteX324" fmla="*/ 667001 w 689291"/>
              <a:gd name="connsiteY324" fmla="*/ 325458 h 425637"/>
              <a:gd name="connsiteX325" fmla="*/ 660602 w 689291"/>
              <a:gd name="connsiteY325" fmla="*/ 331902 h 425637"/>
              <a:gd name="connsiteX326" fmla="*/ 654201 w 689291"/>
              <a:gd name="connsiteY326" fmla="*/ 325501 h 425637"/>
              <a:gd name="connsiteX327" fmla="*/ 654201 w 689291"/>
              <a:gd name="connsiteY327" fmla="*/ 286671 h 425637"/>
              <a:gd name="connsiteX328" fmla="*/ 33094 w 689291"/>
              <a:gd name="connsiteY328" fmla="*/ 282011 h 425637"/>
              <a:gd name="connsiteX329" fmla="*/ 38387 w 689291"/>
              <a:gd name="connsiteY329" fmla="*/ 287304 h 425637"/>
              <a:gd name="connsiteX330" fmla="*/ 38387 w 689291"/>
              <a:gd name="connsiteY330" fmla="*/ 326091 h 425637"/>
              <a:gd name="connsiteX331" fmla="*/ 31987 w 689291"/>
              <a:gd name="connsiteY331" fmla="*/ 332535 h 425637"/>
              <a:gd name="connsiteX332" fmla="*/ 25587 w 689291"/>
              <a:gd name="connsiteY332" fmla="*/ 326134 h 425637"/>
              <a:gd name="connsiteX333" fmla="*/ 25587 w 689291"/>
              <a:gd name="connsiteY333" fmla="*/ 287380 h 425637"/>
              <a:gd name="connsiteX334" fmla="*/ 301556 w 689291"/>
              <a:gd name="connsiteY334" fmla="*/ 280904 h 425637"/>
              <a:gd name="connsiteX335" fmla="*/ 307956 w 689291"/>
              <a:gd name="connsiteY335" fmla="*/ 287304 h 425637"/>
              <a:gd name="connsiteX336" fmla="*/ 307956 w 689291"/>
              <a:gd name="connsiteY336" fmla="*/ 326091 h 425637"/>
              <a:gd name="connsiteX337" fmla="*/ 301556 w 689291"/>
              <a:gd name="connsiteY337" fmla="*/ 332535 h 425637"/>
              <a:gd name="connsiteX338" fmla="*/ 295156 w 689291"/>
              <a:gd name="connsiteY338" fmla="*/ 326134 h 425637"/>
              <a:gd name="connsiteX339" fmla="*/ 295156 w 689291"/>
              <a:gd name="connsiteY339" fmla="*/ 287304 h 425637"/>
              <a:gd name="connsiteX340" fmla="*/ 301556 w 689291"/>
              <a:gd name="connsiteY340" fmla="*/ 280904 h 425637"/>
              <a:gd name="connsiteX341" fmla="*/ 213927 w 689291"/>
              <a:gd name="connsiteY341" fmla="*/ 280904 h 425637"/>
              <a:gd name="connsiteX342" fmla="*/ 220327 w 689291"/>
              <a:gd name="connsiteY342" fmla="*/ 287304 h 425637"/>
              <a:gd name="connsiteX343" fmla="*/ 220327 w 689291"/>
              <a:gd name="connsiteY343" fmla="*/ 326091 h 425637"/>
              <a:gd name="connsiteX344" fmla="*/ 213927 w 689291"/>
              <a:gd name="connsiteY344" fmla="*/ 332535 h 425637"/>
              <a:gd name="connsiteX345" fmla="*/ 207527 w 689291"/>
              <a:gd name="connsiteY345" fmla="*/ 326134 h 425637"/>
              <a:gd name="connsiteX346" fmla="*/ 207527 w 689291"/>
              <a:gd name="connsiteY346" fmla="*/ 287304 h 425637"/>
              <a:gd name="connsiteX347" fmla="*/ 213927 w 689291"/>
              <a:gd name="connsiteY347" fmla="*/ 280904 h 425637"/>
              <a:gd name="connsiteX348" fmla="*/ 126257 w 689291"/>
              <a:gd name="connsiteY348" fmla="*/ 280904 h 425637"/>
              <a:gd name="connsiteX349" fmla="*/ 132657 w 689291"/>
              <a:gd name="connsiteY349" fmla="*/ 287304 h 425637"/>
              <a:gd name="connsiteX350" fmla="*/ 132657 w 689291"/>
              <a:gd name="connsiteY350" fmla="*/ 326091 h 425637"/>
              <a:gd name="connsiteX351" fmla="*/ 126257 w 689291"/>
              <a:gd name="connsiteY351" fmla="*/ 332535 h 425637"/>
              <a:gd name="connsiteX352" fmla="*/ 119857 w 689291"/>
              <a:gd name="connsiteY352" fmla="*/ 326134 h 425637"/>
              <a:gd name="connsiteX353" fmla="*/ 119857 w 689291"/>
              <a:gd name="connsiteY353" fmla="*/ 287304 h 425637"/>
              <a:gd name="connsiteX354" fmla="*/ 126257 w 689291"/>
              <a:gd name="connsiteY354" fmla="*/ 280904 h 425637"/>
              <a:gd name="connsiteX355" fmla="*/ 345157 w 689291"/>
              <a:gd name="connsiteY355" fmla="*/ 280565 h 425637"/>
              <a:gd name="connsiteX356" fmla="*/ 363885 w 689291"/>
              <a:gd name="connsiteY356" fmla="*/ 298305 h 425637"/>
              <a:gd name="connsiteX357" fmla="*/ 363928 w 689291"/>
              <a:gd name="connsiteY357" fmla="*/ 313553 h 425637"/>
              <a:gd name="connsiteX358" fmla="*/ 345157 w 689291"/>
              <a:gd name="connsiteY358" fmla="*/ 332324 h 425637"/>
              <a:gd name="connsiteX359" fmla="*/ 326944 w 689291"/>
              <a:gd name="connsiteY359" fmla="*/ 313553 h 425637"/>
              <a:gd name="connsiteX360" fmla="*/ 326944 w 689291"/>
              <a:gd name="connsiteY360" fmla="*/ 298777 h 425637"/>
              <a:gd name="connsiteX361" fmla="*/ 345157 w 689291"/>
              <a:gd name="connsiteY361" fmla="*/ 280565 h 425637"/>
              <a:gd name="connsiteX362" fmla="*/ 257485 w 689291"/>
              <a:gd name="connsiteY362" fmla="*/ 280565 h 425637"/>
              <a:gd name="connsiteX363" fmla="*/ 276213 w 689291"/>
              <a:gd name="connsiteY363" fmla="*/ 298305 h 425637"/>
              <a:gd name="connsiteX364" fmla="*/ 276256 w 689291"/>
              <a:gd name="connsiteY364" fmla="*/ 313553 h 425637"/>
              <a:gd name="connsiteX365" fmla="*/ 257485 w 689291"/>
              <a:gd name="connsiteY365" fmla="*/ 332324 h 425637"/>
              <a:gd name="connsiteX366" fmla="*/ 239273 w 689291"/>
              <a:gd name="connsiteY366" fmla="*/ 313553 h 425637"/>
              <a:gd name="connsiteX367" fmla="*/ 239273 w 689291"/>
              <a:gd name="connsiteY367" fmla="*/ 298777 h 425637"/>
              <a:gd name="connsiteX368" fmla="*/ 257485 w 689291"/>
              <a:gd name="connsiteY368" fmla="*/ 280565 h 425637"/>
              <a:gd name="connsiteX369" fmla="*/ 169815 w 689291"/>
              <a:gd name="connsiteY369" fmla="*/ 280565 h 425637"/>
              <a:gd name="connsiteX370" fmla="*/ 188544 w 689291"/>
              <a:gd name="connsiteY370" fmla="*/ 298305 h 425637"/>
              <a:gd name="connsiteX371" fmla="*/ 188586 w 689291"/>
              <a:gd name="connsiteY371" fmla="*/ 313553 h 425637"/>
              <a:gd name="connsiteX372" fmla="*/ 169815 w 689291"/>
              <a:gd name="connsiteY372" fmla="*/ 332324 h 425637"/>
              <a:gd name="connsiteX373" fmla="*/ 151603 w 689291"/>
              <a:gd name="connsiteY373" fmla="*/ 313553 h 425637"/>
              <a:gd name="connsiteX374" fmla="*/ 151603 w 689291"/>
              <a:gd name="connsiteY374" fmla="*/ 298777 h 425637"/>
              <a:gd name="connsiteX375" fmla="*/ 169815 w 689291"/>
              <a:gd name="connsiteY375" fmla="*/ 280565 h 425637"/>
              <a:gd name="connsiteX376" fmla="*/ 75588 w 689291"/>
              <a:gd name="connsiteY376" fmla="*/ 280565 h 425637"/>
              <a:gd name="connsiteX377" fmla="*/ 94316 w 689291"/>
              <a:gd name="connsiteY377" fmla="*/ 298305 h 425637"/>
              <a:gd name="connsiteX378" fmla="*/ 94359 w 689291"/>
              <a:gd name="connsiteY378" fmla="*/ 313553 h 425637"/>
              <a:gd name="connsiteX379" fmla="*/ 75588 w 689291"/>
              <a:gd name="connsiteY379" fmla="*/ 332324 h 425637"/>
              <a:gd name="connsiteX380" fmla="*/ 57375 w 689291"/>
              <a:gd name="connsiteY380" fmla="*/ 313553 h 425637"/>
              <a:gd name="connsiteX381" fmla="*/ 57375 w 689291"/>
              <a:gd name="connsiteY381" fmla="*/ 298777 h 425637"/>
              <a:gd name="connsiteX382" fmla="*/ 75588 w 689291"/>
              <a:gd name="connsiteY382" fmla="*/ 280565 h 425637"/>
              <a:gd name="connsiteX383" fmla="*/ 566331 w 689291"/>
              <a:gd name="connsiteY383" fmla="*/ 280271 h 425637"/>
              <a:gd name="connsiteX384" fmla="*/ 572730 w 689291"/>
              <a:gd name="connsiteY384" fmla="*/ 286671 h 425637"/>
              <a:gd name="connsiteX385" fmla="*/ 572730 w 689291"/>
              <a:gd name="connsiteY385" fmla="*/ 325458 h 425637"/>
              <a:gd name="connsiteX386" fmla="*/ 566331 w 689291"/>
              <a:gd name="connsiteY386" fmla="*/ 331902 h 425637"/>
              <a:gd name="connsiteX387" fmla="*/ 559931 w 689291"/>
              <a:gd name="connsiteY387" fmla="*/ 325501 h 425637"/>
              <a:gd name="connsiteX388" fmla="*/ 559931 w 689291"/>
              <a:gd name="connsiteY388" fmla="*/ 286671 h 425637"/>
              <a:gd name="connsiteX389" fmla="*/ 566331 w 689291"/>
              <a:gd name="connsiteY389" fmla="*/ 280271 h 425637"/>
              <a:gd name="connsiteX390" fmla="*/ 478702 w 689291"/>
              <a:gd name="connsiteY390" fmla="*/ 280271 h 425637"/>
              <a:gd name="connsiteX391" fmla="*/ 485103 w 689291"/>
              <a:gd name="connsiteY391" fmla="*/ 286671 h 425637"/>
              <a:gd name="connsiteX392" fmla="*/ 485103 w 689291"/>
              <a:gd name="connsiteY392" fmla="*/ 325458 h 425637"/>
              <a:gd name="connsiteX393" fmla="*/ 478702 w 689291"/>
              <a:gd name="connsiteY393" fmla="*/ 331902 h 425637"/>
              <a:gd name="connsiteX394" fmla="*/ 472302 w 689291"/>
              <a:gd name="connsiteY394" fmla="*/ 325501 h 425637"/>
              <a:gd name="connsiteX395" fmla="*/ 472302 w 689291"/>
              <a:gd name="connsiteY395" fmla="*/ 286671 h 425637"/>
              <a:gd name="connsiteX396" fmla="*/ 478702 w 689291"/>
              <a:gd name="connsiteY396" fmla="*/ 280271 h 425637"/>
              <a:gd name="connsiteX397" fmla="*/ 391033 w 689291"/>
              <a:gd name="connsiteY397" fmla="*/ 280271 h 425637"/>
              <a:gd name="connsiteX398" fmla="*/ 397433 w 689291"/>
              <a:gd name="connsiteY398" fmla="*/ 286671 h 425637"/>
              <a:gd name="connsiteX399" fmla="*/ 397433 w 689291"/>
              <a:gd name="connsiteY399" fmla="*/ 325458 h 425637"/>
              <a:gd name="connsiteX400" fmla="*/ 391033 w 689291"/>
              <a:gd name="connsiteY400" fmla="*/ 331902 h 425637"/>
              <a:gd name="connsiteX401" fmla="*/ 384632 w 689291"/>
              <a:gd name="connsiteY401" fmla="*/ 325501 h 425637"/>
              <a:gd name="connsiteX402" fmla="*/ 384632 w 689291"/>
              <a:gd name="connsiteY402" fmla="*/ 286671 h 425637"/>
              <a:gd name="connsiteX403" fmla="*/ 391033 w 689291"/>
              <a:gd name="connsiteY403" fmla="*/ 280271 h 425637"/>
              <a:gd name="connsiteX404" fmla="*/ 609931 w 689291"/>
              <a:gd name="connsiteY404" fmla="*/ 279932 h 425637"/>
              <a:gd name="connsiteX405" fmla="*/ 628659 w 689291"/>
              <a:gd name="connsiteY405" fmla="*/ 297673 h 425637"/>
              <a:gd name="connsiteX406" fmla="*/ 628702 w 689291"/>
              <a:gd name="connsiteY406" fmla="*/ 312921 h 425637"/>
              <a:gd name="connsiteX407" fmla="*/ 609931 w 689291"/>
              <a:gd name="connsiteY407" fmla="*/ 331691 h 425637"/>
              <a:gd name="connsiteX408" fmla="*/ 591719 w 689291"/>
              <a:gd name="connsiteY408" fmla="*/ 312921 h 425637"/>
              <a:gd name="connsiteX409" fmla="*/ 591719 w 689291"/>
              <a:gd name="connsiteY409" fmla="*/ 298144 h 425637"/>
              <a:gd name="connsiteX410" fmla="*/ 609931 w 689291"/>
              <a:gd name="connsiteY410" fmla="*/ 279932 h 425637"/>
              <a:gd name="connsiteX411" fmla="*/ 522261 w 689291"/>
              <a:gd name="connsiteY411" fmla="*/ 279932 h 425637"/>
              <a:gd name="connsiteX412" fmla="*/ 540989 w 689291"/>
              <a:gd name="connsiteY412" fmla="*/ 297673 h 425637"/>
              <a:gd name="connsiteX413" fmla="*/ 541032 w 689291"/>
              <a:gd name="connsiteY413" fmla="*/ 312921 h 425637"/>
              <a:gd name="connsiteX414" fmla="*/ 522261 w 689291"/>
              <a:gd name="connsiteY414" fmla="*/ 331691 h 425637"/>
              <a:gd name="connsiteX415" fmla="*/ 504048 w 689291"/>
              <a:gd name="connsiteY415" fmla="*/ 312921 h 425637"/>
              <a:gd name="connsiteX416" fmla="*/ 504048 w 689291"/>
              <a:gd name="connsiteY416" fmla="*/ 298144 h 425637"/>
              <a:gd name="connsiteX417" fmla="*/ 522261 w 689291"/>
              <a:gd name="connsiteY417" fmla="*/ 279932 h 425637"/>
              <a:gd name="connsiteX418" fmla="*/ 434591 w 689291"/>
              <a:gd name="connsiteY418" fmla="*/ 279932 h 425637"/>
              <a:gd name="connsiteX419" fmla="*/ 453318 w 689291"/>
              <a:gd name="connsiteY419" fmla="*/ 297673 h 425637"/>
              <a:gd name="connsiteX420" fmla="*/ 453361 w 689291"/>
              <a:gd name="connsiteY420" fmla="*/ 312921 h 425637"/>
              <a:gd name="connsiteX421" fmla="*/ 434591 w 689291"/>
              <a:gd name="connsiteY421" fmla="*/ 331691 h 425637"/>
              <a:gd name="connsiteX422" fmla="*/ 416377 w 689291"/>
              <a:gd name="connsiteY422" fmla="*/ 312921 h 425637"/>
              <a:gd name="connsiteX423" fmla="*/ 416377 w 689291"/>
              <a:gd name="connsiteY423" fmla="*/ 298144 h 425637"/>
              <a:gd name="connsiteX424" fmla="*/ 434591 w 689291"/>
              <a:gd name="connsiteY424" fmla="*/ 279932 h 425637"/>
              <a:gd name="connsiteX425" fmla="*/ 210384 w 689291"/>
              <a:gd name="connsiteY425" fmla="*/ 236381 h 425637"/>
              <a:gd name="connsiteX426" fmla="*/ 203870 w 689291"/>
              <a:gd name="connsiteY426" fmla="*/ 242894 h 425637"/>
              <a:gd name="connsiteX427" fmla="*/ 203870 w 689291"/>
              <a:gd name="connsiteY427" fmla="*/ 257670 h 425637"/>
              <a:gd name="connsiteX428" fmla="*/ 211111 w 689291"/>
              <a:gd name="connsiteY428" fmla="*/ 264996 h 425637"/>
              <a:gd name="connsiteX429" fmla="*/ 217717 w 689291"/>
              <a:gd name="connsiteY429" fmla="*/ 257936 h 425637"/>
              <a:gd name="connsiteX430" fmla="*/ 217717 w 689291"/>
              <a:gd name="connsiteY430" fmla="*/ 243160 h 425637"/>
              <a:gd name="connsiteX431" fmla="*/ 122714 w 689291"/>
              <a:gd name="connsiteY431" fmla="*/ 236381 h 425637"/>
              <a:gd name="connsiteX432" fmla="*/ 116200 w 689291"/>
              <a:gd name="connsiteY432" fmla="*/ 242894 h 425637"/>
              <a:gd name="connsiteX433" fmla="*/ 116200 w 689291"/>
              <a:gd name="connsiteY433" fmla="*/ 257670 h 425637"/>
              <a:gd name="connsiteX434" fmla="*/ 123440 w 689291"/>
              <a:gd name="connsiteY434" fmla="*/ 264996 h 425637"/>
              <a:gd name="connsiteX435" fmla="*/ 130047 w 689291"/>
              <a:gd name="connsiteY435" fmla="*/ 257936 h 425637"/>
              <a:gd name="connsiteX436" fmla="*/ 130047 w 689291"/>
              <a:gd name="connsiteY436" fmla="*/ 243160 h 425637"/>
              <a:gd name="connsiteX437" fmla="*/ 480270 w 689291"/>
              <a:gd name="connsiteY437" fmla="*/ 236064 h 425637"/>
              <a:gd name="connsiteX438" fmla="*/ 473440 w 689291"/>
              <a:gd name="connsiteY438" fmla="*/ 242894 h 425637"/>
              <a:gd name="connsiteX439" fmla="*/ 473440 w 689291"/>
              <a:gd name="connsiteY439" fmla="*/ 257670 h 425637"/>
              <a:gd name="connsiteX440" fmla="*/ 480743 w 689291"/>
              <a:gd name="connsiteY440" fmla="*/ 265059 h 425637"/>
              <a:gd name="connsiteX441" fmla="*/ 487659 w 689291"/>
              <a:gd name="connsiteY441" fmla="*/ 257670 h 425637"/>
              <a:gd name="connsiteX442" fmla="*/ 487659 w 689291"/>
              <a:gd name="connsiteY442" fmla="*/ 242894 h 425637"/>
              <a:gd name="connsiteX443" fmla="*/ 480270 w 689291"/>
              <a:gd name="connsiteY443" fmla="*/ 236064 h 425637"/>
              <a:gd name="connsiteX444" fmla="*/ 392599 w 689291"/>
              <a:gd name="connsiteY444" fmla="*/ 236064 h 425637"/>
              <a:gd name="connsiteX445" fmla="*/ 385769 w 689291"/>
              <a:gd name="connsiteY445" fmla="*/ 242894 h 425637"/>
              <a:gd name="connsiteX446" fmla="*/ 385769 w 689291"/>
              <a:gd name="connsiteY446" fmla="*/ 257670 h 425637"/>
              <a:gd name="connsiteX447" fmla="*/ 393071 w 689291"/>
              <a:gd name="connsiteY447" fmla="*/ 265059 h 425637"/>
              <a:gd name="connsiteX448" fmla="*/ 399987 w 689291"/>
              <a:gd name="connsiteY448" fmla="*/ 257670 h 425637"/>
              <a:gd name="connsiteX449" fmla="*/ 399987 w 689291"/>
              <a:gd name="connsiteY449" fmla="*/ 242894 h 425637"/>
              <a:gd name="connsiteX450" fmla="*/ 392599 w 689291"/>
              <a:gd name="connsiteY450" fmla="*/ 236064 h 425637"/>
              <a:gd name="connsiteX451" fmla="*/ 304971 w 689291"/>
              <a:gd name="connsiteY451" fmla="*/ 236064 h 425637"/>
              <a:gd name="connsiteX452" fmla="*/ 298141 w 689291"/>
              <a:gd name="connsiteY452" fmla="*/ 242894 h 425637"/>
              <a:gd name="connsiteX453" fmla="*/ 298141 w 689291"/>
              <a:gd name="connsiteY453" fmla="*/ 257670 h 425637"/>
              <a:gd name="connsiteX454" fmla="*/ 305444 w 689291"/>
              <a:gd name="connsiteY454" fmla="*/ 265059 h 425637"/>
              <a:gd name="connsiteX455" fmla="*/ 312359 w 689291"/>
              <a:gd name="connsiteY455" fmla="*/ 257670 h 425637"/>
              <a:gd name="connsiteX456" fmla="*/ 312359 w 689291"/>
              <a:gd name="connsiteY456" fmla="*/ 242894 h 425637"/>
              <a:gd name="connsiteX457" fmla="*/ 304971 w 689291"/>
              <a:gd name="connsiteY457" fmla="*/ 236064 h 425637"/>
              <a:gd name="connsiteX458" fmla="*/ 569375 w 689291"/>
              <a:gd name="connsiteY458" fmla="*/ 235698 h 425637"/>
              <a:gd name="connsiteX459" fmla="*/ 562546 w 689291"/>
              <a:gd name="connsiteY459" fmla="*/ 242528 h 425637"/>
              <a:gd name="connsiteX460" fmla="*/ 562546 w 689291"/>
              <a:gd name="connsiteY460" fmla="*/ 257304 h 425637"/>
              <a:gd name="connsiteX461" fmla="*/ 569847 w 689291"/>
              <a:gd name="connsiteY461" fmla="*/ 264693 h 425637"/>
              <a:gd name="connsiteX462" fmla="*/ 576763 w 689291"/>
              <a:gd name="connsiteY462" fmla="*/ 257304 h 425637"/>
              <a:gd name="connsiteX463" fmla="*/ 576763 w 689291"/>
              <a:gd name="connsiteY463" fmla="*/ 242528 h 425637"/>
              <a:gd name="connsiteX464" fmla="*/ 569375 w 689291"/>
              <a:gd name="connsiteY464" fmla="*/ 235698 h 425637"/>
              <a:gd name="connsiteX465" fmla="*/ 436712 w 689291"/>
              <a:gd name="connsiteY465" fmla="*/ 225060 h 425637"/>
              <a:gd name="connsiteX466" fmla="*/ 443112 w 689291"/>
              <a:gd name="connsiteY466" fmla="*/ 231461 h 425637"/>
              <a:gd name="connsiteX467" fmla="*/ 443112 w 689291"/>
              <a:gd name="connsiteY467" fmla="*/ 270248 h 425637"/>
              <a:gd name="connsiteX468" fmla="*/ 436712 w 689291"/>
              <a:gd name="connsiteY468" fmla="*/ 276648 h 425637"/>
              <a:gd name="connsiteX469" fmla="*/ 430312 w 689291"/>
              <a:gd name="connsiteY469" fmla="*/ 270248 h 425637"/>
              <a:gd name="connsiteX470" fmla="*/ 430312 w 689291"/>
              <a:gd name="connsiteY470" fmla="*/ 231461 h 425637"/>
              <a:gd name="connsiteX471" fmla="*/ 436712 w 689291"/>
              <a:gd name="connsiteY471" fmla="*/ 225060 h 425637"/>
              <a:gd name="connsiteX472" fmla="*/ 349084 w 689291"/>
              <a:gd name="connsiteY472" fmla="*/ 225060 h 425637"/>
              <a:gd name="connsiteX473" fmla="*/ 355484 w 689291"/>
              <a:gd name="connsiteY473" fmla="*/ 231461 h 425637"/>
              <a:gd name="connsiteX474" fmla="*/ 355484 w 689291"/>
              <a:gd name="connsiteY474" fmla="*/ 270248 h 425637"/>
              <a:gd name="connsiteX475" fmla="*/ 349084 w 689291"/>
              <a:gd name="connsiteY475" fmla="*/ 276648 h 425637"/>
              <a:gd name="connsiteX476" fmla="*/ 342684 w 689291"/>
              <a:gd name="connsiteY476" fmla="*/ 270248 h 425637"/>
              <a:gd name="connsiteX477" fmla="*/ 342684 w 689291"/>
              <a:gd name="connsiteY477" fmla="*/ 231461 h 425637"/>
              <a:gd name="connsiteX478" fmla="*/ 349084 w 689291"/>
              <a:gd name="connsiteY478" fmla="*/ 225060 h 425637"/>
              <a:gd name="connsiteX479" fmla="*/ 261415 w 689291"/>
              <a:gd name="connsiteY479" fmla="*/ 225060 h 425637"/>
              <a:gd name="connsiteX480" fmla="*/ 267815 w 689291"/>
              <a:gd name="connsiteY480" fmla="*/ 231461 h 425637"/>
              <a:gd name="connsiteX481" fmla="*/ 267815 w 689291"/>
              <a:gd name="connsiteY481" fmla="*/ 270248 h 425637"/>
              <a:gd name="connsiteX482" fmla="*/ 261415 w 689291"/>
              <a:gd name="connsiteY482" fmla="*/ 276648 h 425637"/>
              <a:gd name="connsiteX483" fmla="*/ 255015 w 689291"/>
              <a:gd name="connsiteY483" fmla="*/ 270248 h 425637"/>
              <a:gd name="connsiteX484" fmla="*/ 255015 w 689291"/>
              <a:gd name="connsiteY484" fmla="*/ 231461 h 425637"/>
              <a:gd name="connsiteX485" fmla="*/ 261415 w 689291"/>
              <a:gd name="connsiteY485" fmla="*/ 225060 h 425637"/>
              <a:gd name="connsiteX486" fmla="*/ 167143 w 689291"/>
              <a:gd name="connsiteY486" fmla="*/ 225060 h 425637"/>
              <a:gd name="connsiteX487" fmla="*/ 173543 w 689291"/>
              <a:gd name="connsiteY487" fmla="*/ 231461 h 425637"/>
              <a:gd name="connsiteX488" fmla="*/ 173543 w 689291"/>
              <a:gd name="connsiteY488" fmla="*/ 270248 h 425637"/>
              <a:gd name="connsiteX489" fmla="*/ 167143 w 689291"/>
              <a:gd name="connsiteY489" fmla="*/ 276648 h 425637"/>
              <a:gd name="connsiteX490" fmla="*/ 167090 w 689291"/>
              <a:gd name="connsiteY490" fmla="*/ 276596 h 425637"/>
              <a:gd name="connsiteX491" fmla="*/ 166772 w 689291"/>
              <a:gd name="connsiteY491" fmla="*/ 276914 h 425637"/>
              <a:gd name="connsiteX492" fmla="*/ 160372 w 689291"/>
              <a:gd name="connsiteY492" fmla="*/ 270514 h 425637"/>
              <a:gd name="connsiteX493" fmla="*/ 160372 w 689291"/>
              <a:gd name="connsiteY493" fmla="*/ 231727 h 425637"/>
              <a:gd name="connsiteX494" fmla="*/ 166772 w 689291"/>
              <a:gd name="connsiteY494" fmla="*/ 225326 h 425637"/>
              <a:gd name="connsiteX495" fmla="*/ 166824 w 689291"/>
              <a:gd name="connsiteY495" fmla="*/ 225379 h 425637"/>
              <a:gd name="connsiteX496" fmla="*/ 79515 w 689291"/>
              <a:gd name="connsiteY496" fmla="*/ 225060 h 425637"/>
              <a:gd name="connsiteX497" fmla="*/ 85915 w 689291"/>
              <a:gd name="connsiteY497" fmla="*/ 231461 h 425637"/>
              <a:gd name="connsiteX498" fmla="*/ 85915 w 689291"/>
              <a:gd name="connsiteY498" fmla="*/ 270248 h 425637"/>
              <a:gd name="connsiteX499" fmla="*/ 79515 w 689291"/>
              <a:gd name="connsiteY499" fmla="*/ 276648 h 425637"/>
              <a:gd name="connsiteX500" fmla="*/ 79462 w 689291"/>
              <a:gd name="connsiteY500" fmla="*/ 276596 h 425637"/>
              <a:gd name="connsiteX501" fmla="*/ 79143 w 689291"/>
              <a:gd name="connsiteY501" fmla="*/ 276914 h 425637"/>
              <a:gd name="connsiteX502" fmla="*/ 72744 w 689291"/>
              <a:gd name="connsiteY502" fmla="*/ 270514 h 425637"/>
              <a:gd name="connsiteX503" fmla="*/ 72744 w 689291"/>
              <a:gd name="connsiteY503" fmla="*/ 266509 h 425637"/>
              <a:gd name="connsiteX504" fmla="*/ 75497 w 689291"/>
              <a:gd name="connsiteY504" fmla="*/ 265867 h 425637"/>
              <a:gd name="connsiteX505" fmla="*/ 72744 w 689291"/>
              <a:gd name="connsiteY505" fmla="*/ 244589 h 425637"/>
              <a:gd name="connsiteX506" fmla="*/ 72744 w 689291"/>
              <a:gd name="connsiteY506" fmla="*/ 231727 h 425637"/>
              <a:gd name="connsiteX507" fmla="*/ 79143 w 689291"/>
              <a:gd name="connsiteY507" fmla="*/ 225326 h 425637"/>
              <a:gd name="connsiteX508" fmla="*/ 79196 w 689291"/>
              <a:gd name="connsiteY508" fmla="*/ 225379 h 425637"/>
              <a:gd name="connsiteX509" fmla="*/ 613487 w 689291"/>
              <a:gd name="connsiteY509" fmla="*/ 224693 h 425637"/>
              <a:gd name="connsiteX510" fmla="*/ 619351 w 689291"/>
              <a:gd name="connsiteY510" fmla="*/ 230557 h 425637"/>
              <a:gd name="connsiteX511" fmla="*/ 612706 w 689291"/>
              <a:gd name="connsiteY511" fmla="*/ 265867 h 425637"/>
              <a:gd name="connsiteX512" fmla="*/ 613954 w 689291"/>
              <a:gd name="connsiteY512" fmla="*/ 265867 h 425637"/>
              <a:gd name="connsiteX513" fmla="*/ 619888 w 689291"/>
              <a:gd name="connsiteY513" fmla="*/ 267089 h 425637"/>
              <a:gd name="connsiteX514" fmla="*/ 619888 w 689291"/>
              <a:gd name="connsiteY514" fmla="*/ 269882 h 425637"/>
              <a:gd name="connsiteX515" fmla="*/ 613487 w 689291"/>
              <a:gd name="connsiteY515" fmla="*/ 276282 h 425637"/>
              <a:gd name="connsiteX516" fmla="*/ 607087 w 689291"/>
              <a:gd name="connsiteY516" fmla="*/ 269882 h 425637"/>
              <a:gd name="connsiteX517" fmla="*/ 607087 w 689291"/>
              <a:gd name="connsiteY517" fmla="*/ 231094 h 425637"/>
              <a:gd name="connsiteX518" fmla="*/ 613487 w 689291"/>
              <a:gd name="connsiteY518" fmla="*/ 224693 h 425637"/>
              <a:gd name="connsiteX519" fmla="*/ 525820 w 689291"/>
              <a:gd name="connsiteY519" fmla="*/ 224693 h 425637"/>
              <a:gd name="connsiteX520" fmla="*/ 532220 w 689291"/>
              <a:gd name="connsiteY520" fmla="*/ 231094 h 425637"/>
              <a:gd name="connsiteX521" fmla="*/ 532220 w 689291"/>
              <a:gd name="connsiteY521" fmla="*/ 269882 h 425637"/>
              <a:gd name="connsiteX522" fmla="*/ 525820 w 689291"/>
              <a:gd name="connsiteY522" fmla="*/ 276282 h 425637"/>
              <a:gd name="connsiteX523" fmla="*/ 519419 w 689291"/>
              <a:gd name="connsiteY523" fmla="*/ 269882 h 425637"/>
              <a:gd name="connsiteX524" fmla="*/ 519419 w 689291"/>
              <a:gd name="connsiteY524" fmla="*/ 231094 h 425637"/>
              <a:gd name="connsiteX525" fmla="*/ 525820 w 689291"/>
              <a:gd name="connsiteY525" fmla="*/ 224693 h 425637"/>
              <a:gd name="connsiteX526" fmla="*/ 480313 w 689291"/>
              <a:gd name="connsiteY526" fmla="*/ 224681 h 425637"/>
              <a:gd name="connsiteX527" fmla="*/ 499041 w 689291"/>
              <a:gd name="connsiteY527" fmla="*/ 242421 h 425637"/>
              <a:gd name="connsiteX528" fmla="*/ 499084 w 689291"/>
              <a:gd name="connsiteY528" fmla="*/ 257670 h 425637"/>
              <a:gd name="connsiteX529" fmla="*/ 480313 w 689291"/>
              <a:gd name="connsiteY529" fmla="*/ 276441 h 425637"/>
              <a:gd name="connsiteX530" fmla="*/ 462100 w 689291"/>
              <a:gd name="connsiteY530" fmla="*/ 257670 h 425637"/>
              <a:gd name="connsiteX531" fmla="*/ 462100 w 689291"/>
              <a:gd name="connsiteY531" fmla="*/ 242894 h 425637"/>
              <a:gd name="connsiteX532" fmla="*/ 480313 w 689291"/>
              <a:gd name="connsiteY532" fmla="*/ 224681 h 425637"/>
              <a:gd name="connsiteX533" fmla="*/ 392643 w 689291"/>
              <a:gd name="connsiteY533" fmla="*/ 224681 h 425637"/>
              <a:gd name="connsiteX534" fmla="*/ 411371 w 689291"/>
              <a:gd name="connsiteY534" fmla="*/ 242421 h 425637"/>
              <a:gd name="connsiteX535" fmla="*/ 411414 w 689291"/>
              <a:gd name="connsiteY535" fmla="*/ 257670 h 425637"/>
              <a:gd name="connsiteX536" fmla="*/ 392643 w 689291"/>
              <a:gd name="connsiteY536" fmla="*/ 276441 h 425637"/>
              <a:gd name="connsiteX537" fmla="*/ 374430 w 689291"/>
              <a:gd name="connsiteY537" fmla="*/ 257670 h 425637"/>
              <a:gd name="connsiteX538" fmla="*/ 374430 w 689291"/>
              <a:gd name="connsiteY538" fmla="*/ 242894 h 425637"/>
              <a:gd name="connsiteX539" fmla="*/ 392643 w 689291"/>
              <a:gd name="connsiteY539" fmla="*/ 224681 h 425637"/>
              <a:gd name="connsiteX540" fmla="*/ 304971 w 689291"/>
              <a:gd name="connsiteY540" fmla="*/ 224681 h 425637"/>
              <a:gd name="connsiteX541" fmla="*/ 323700 w 689291"/>
              <a:gd name="connsiteY541" fmla="*/ 242421 h 425637"/>
              <a:gd name="connsiteX542" fmla="*/ 323742 w 689291"/>
              <a:gd name="connsiteY542" fmla="*/ 257670 h 425637"/>
              <a:gd name="connsiteX543" fmla="*/ 304971 w 689291"/>
              <a:gd name="connsiteY543" fmla="*/ 276441 h 425637"/>
              <a:gd name="connsiteX544" fmla="*/ 286759 w 689291"/>
              <a:gd name="connsiteY544" fmla="*/ 257670 h 425637"/>
              <a:gd name="connsiteX545" fmla="*/ 286759 w 689291"/>
              <a:gd name="connsiteY545" fmla="*/ 242894 h 425637"/>
              <a:gd name="connsiteX546" fmla="*/ 304971 w 689291"/>
              <a:gd name="connsiteY546" fmla="*/ 224681 h 425637"/>
              <a:gd name="connsiteX547" fmla="*/ 210744 w 689291"/>
              <a:gd name="connsiteY547" fmla="*/ 224681 h 425637"/>
              <a:gd name="connsiteX548" fmla="*/ 229472 w 689291"/>
              <a:gd name="connsiteY548" fmla="*/ 242421 h 425637"/>
              <a:gd name="connsiteX549" fmla="*/ 229515 w 689291"/>
              <a:gd name="connsiteY549" fmla="*/ 257670 h 425637"/>
              <a:gd name="connsiteX550" fmla="*/ 223947 w 689291"/>
              <a:gd name="connsiteY550" fmla="*/ 270873 h 425637"/>
              <a:gd name="connsiteX551" fmla="*/ 223632 w 689291"/>
              <a:gd name="connsiteY551" fmla="*/ 271007 h 425637"/>
              <a:gd name="connsiteX552" fmla="*/ 223576 w 689291"/>
              <a:gd name="connsiteY552" fmla="*/ 271140 h 425637"/>
              <a:gd name="connsiteX553" fmla="*/ 210373 w 689291"/>
              <a:gd name="connsiteY553" fmla="*/ 276708 h 425637"/>
              <a:gd name="connsiteX554" fmla="*/ 192160 w 689291"/>
              <a:gd name="connsiteY554" fmla="*/ 257936 h 425637"/>
              <a:gd name="connsiteX555" fmla="*/ 192160 w 689291"/>
              <a:gd name="connsiteY555" fmla="*/ 243160 h 425637"/>
              <a:gd name="connsiteX556" fmla="*/ 197497 w 689291"/>
              <a:gd name="connsiteY556" fmla="*/ 230285 h 425637"/>
              <a:gd name="connsiteX557" fmla="*/ 197812 w 689291"/>
              <a:gd name="connsiteY557" fmla="*/ 230155 h 425637"/>
              <a:gd name="connsiteX558" fmla="*/ 197869 w 689291"/>
              <a:gd name="connsiteY558" fmla="*/ 230019 h 425637"/>
              <a:gd name="connsiteX559" fmla="*/ 210744 w 689291"/>
              <a:gd name="connsiteY559" fmla="*/ 224681 h 425637"/>
              <a:gd name="connsiteX560" fmla="*/ 123073 w 689291"/>
              <a:gd name="connsiteY560" fmla="*/ 224681 h 425637"/>
              <a:gd name="connsiteX561" fmla="*/ 141801 w 689291"/>
              <a:gd name="connsiteY561" fmla="*/ 242421 h 425637"/>
              <a:gd name="connsiteX562" fmla="*/ 141844 w 689291"/>
              <a:gd name="connsiteY562" fmla="*/ 257670 h 425637"/>
              <a:gd name="connsiteX563" fmla="*/ 136276 w 689291"/>
              <a:gd name="connsiteY563" fmla="*/ 270873 h 425637"/>
              <a:gd name="connsiteX564" fmla="*/ 135961 w 689291"/>
              <a:gd name="connsiteY564" fmla="*/ 271007 h 425637"/>
              <a:gd name="connsiteX565" fmla="*/ 135904 w 689291"/>
              <a:gd name="connsiteY565" fmla="*/ 271140 h 425637"/>
              <a:gd name="connsiteX566" fmla="*/ 122701 w 689291"/>
              <a:gd name="connsiteY566" fmla="*/ 276708 h 425637"/>
              <a:gd name="connsiteX567" fmla="*/ 104489 w 689291"/>
              <a:gd name="connsiteY567" fmla="*/ 257936 h 425637"/>
              <a:gd name="connsiteX568" fmla="*/ 104489 w 689291"/>
              <a:gd name="connsiteY568" fmla="*/ 243160 h 425637"/>
              <a:gd name="connsiteX569" fmla="*/ 109826 w 689291"/>
              <a:gd name="connsiteY569" fmla="*/ 230285 h 425637"/>
              <a:gd name="connsiteX570" fmla="*/ 110141 w 689291"/>
              <a:gd name="connsiteY570" fmla="*/ 230155 h 425637"/>
              <a:gd name="connsiteX571" fmla="*/ 110197 w 689291"/>
              <a:gd name="connsiteY571" fmla="*/ 230019 h 425637"/>
              <a:gd name="connsiteX572" fmla="*/ 123073 w 689291"/>
              <a:gd name="connsiteY572" fmla="*/ 224681 h 425637"/>
              <a:gd name="connsiteX573" fmla="*/ 569375 w 689291"/>
              <a:gd name="connsiteY573" fmla="*/ 224316 h 425637"/>
              <a:gd name="connsiteX574" fmla="*/ 588103 w 689291"/>
              <a:gd name="connsiteY574" fmla="*/ 242056 h 425637"/>
              <a:gd name="connsiteX575" fmla="*/ 588146 w 689291"/>
              <a:gd name="connsiteY575" fmla="*/ 257304 h 425637"/>
              <a:gd name="connsiteX576" fmla="*/ 569375 w 689291"/>
              <a:gd name="connsiteY576" fmla="*/ 276076 h 425637"/>
              <a:gd name="connsiteX577" fmla="*/ 551162 w 689291"/>
              <a:gd name="connsiteY577" fmla="*/ 257304 h 425637"/>
              <a:gd name="connsiteX578" fmla="*/ 551162 w 689291"/>
              <a:gd name="connsiteY578" fmla="*/ 242528 h 425637"/>
              <a:gd name="connsiteX579" fmla="*/ 569375 w 689291"/>
              <a:gd name="connsiteY579" fmla="*/ 224316 h 425637"/>
              <a:gd name="connsiteX580" fmla="*/ 178732 w 689291"/>
              <a:gd name="connsiteY580" fmla="*/ 172594 h 425637"/>
              <a:gd name="connsiteX581" fmla="*/ 172126 w 689291"/>
              <a:gd name="connsiteY581" fmla="*/ 179652 h 425637"/>
              <a:gd name="connsiteX582" fmla="*/ 172126 w 689291"/>
              <a:gd name="connsiteY582" fmla="*/ 194429 h 425637"/>
              <a:gd name="connsiteX583" fmla="*/ 179459 w 689291"/>
              <a:gd name="connsiteY583" fmla="*/ 201207 h 425637"/>
              <a:gd name="connsiteX584" fmla="*/ 185972 w 689291"/>
              <a:gd name="connsiteY584" fmla="*/ 194695 h 425637"/>
              <a:gd name="connsiteX585" fmla="*/ 185972 w 689291"/>
              <a:gd name="connsiteY585" fmla="*/ 179919 h 425637"/>
              <a:gd name="connsiteX586" fmla="*/ 91065 w 689291"/>
              <a:gd name="connsiteY586" fmla="*/ 172594 h 425637"/>
              <a:gd name="connsiteX587" fmla="*/ 84457 w 689291"/>
              <a:gd name="connsiteY587" fmla="*/ 179652 h 425637"/>
              <a:gd name="connsiteX588" fmla="*/ 84457 w 689291"/>
              <a:gd name="connsiteY588" fmla="*/ 194429 h 425637"/>
              <a:gd name="connsiteX589" fmla="*/ 91791 w 689291"/>
              <a:gd name="connsiteY589" fmla="*/ 201207 h 425637"/>
              <a:gd name="connsiteX590" fmla="*/ 98304 w 689291"/>
              <a:gd name="connsiteY590" fmla="*/ 194695 h 425637"/>
              <a:gd name="connsiteX591" fmla="*/ 98304 w 689291"/>
              <a:gd name="connsiteY591" fmla="*/ 179919 h 425637"/>
              <a:gd name="connsiteX592" fmla="*/ 448610 w 689291"/>
              <a:gd name="connsiteY592" fmla="*/ 172264 h 425637"/>
              <a:gd name="connsiteX593" fmla="*/ 441695 w 689291"/>
              <a:gd name="connsiteY593" fmla="*/ 179652 h 425637"/>
              <a:gd name="connsiteX594" fmla="*/ 441695 w 689291"/>
              <a:gd name="connsiteY594" fmla="*/ 194429 h 425637"/>
              <a:gd name="connsiteX595" fmla="*/ 449083 w 689291"/>
              <a:gd name="connsiteY595" fmla="*/ 201259 h 425637"/>
              <a:gd name="connsiteX596" fmla="*/ 455913 w 689291"/>
              <a:gd name="connsiteY596" fmla="*/ 194429 h 425637"/>
              <a:gd name="connsiteX597" fmla="*/ 455913 w 689291"/>
              <a:gd name="connsiteY597" fmla="*/ 179652 h 425637"/>
              <a:gd name="connsiteX598" fmla="*/ 448610 w 689291"/>
              <a:gd name="connsiteY598" fmla="*/ 172264 h 425637"/>
              <a:gd name="connsiteX599" fmla="*/ 360942 w 689291"/>
              <a:gd name="connsiteY599" fmla="*/ 172264 h 425637"/>
              <a:gd name="connsiteX600" fmla="*/ 354026 w 689291"/>
              <a:gd name="connsiteY600" fmla="*/ 179652 h 425637"/>
              <a:gd name="connsiteX601" fmla="*/ 354026 w 689291"/>
              <a:gd name="connsiteY601" fmla="*/ 194429 h 425637"/>
              <a:gd name="connsiteX602" fmla="*/ 361415 w 689291"/>
              <a:gd name="connsiteY602" fmla="*/ 201259 h 425637"/>
              <a:gd name="connsiteX603" fmla="*/ 368245 w 689291"/>
              <a:gd name="connsiteY603" fmla="*/ 194429 h 425637"/>
              <a:gd name="connsiteX604" fmla="*/ 368245 w 689291"/>
              <a:gd name="connsiteY604" fmla="*/ 179652 h 425637"/>
              <a:gd name="connsiteX605" fmla="*/ 360942 w 689291"/>
              <a:gd name="connsiteY605" fmla="*/ 172264 h 425637"/>
              <a:gd name="connsiteX606" fmla="*/ 273272 w 689291"/>
              <a:gd name="connsiteY606" fmla="*/ 172264 h 425637"/>
              <a:gd name="connsiteX607" fmla="*/ 266356 w 689291"/>
              <a:gd name="connsiteY607" fmla="*/ 179652 h 425637"/>
              <a:gd name="connsiteX608" fmla="*/ 266356 w 689291"/>
              <a:gd name="connsiteY608" fmla="*/ 194429 h 425637"/>
              <a:gd name="connsiteX609" fmla="*/ 273744 w 689291"/>
              <a:gd name="connsiteY609" fmla="*/ 201259 h 425637"/>
              <a:gd name="connsiteX610" fmla="*/ 280574 w 689291"/>
              <a:gd name="connsiteY610" fmla="*/ 194429 h 425637"/>
              <a:gd name="connsiteX611" fmla="*/ 280574 w 689291"/>
              <a:gd name="connsiteY611" fmla="*/ 179652 h 425637"/>
              <a:gd name="connsiteX612" fmla="*/ 273272 w 689291"/>
              <a:gd name="connsiteY612" fmla="*/ 172264 h 425637"/>
              <a:gd name="connsiteX613" fmla="*/ 537676 w 689291"/>
              <a:gd name="connsiteY613" fmla="*/ 171898 h 425637"/>
              <a:gd name="connsiteX614" fmla="*/ 530760 w 689291"/>
              <a:gd name="connsiteY614" fmla="*/ 179286 h 425637"/>
              <a:gd name="connsiteX615" fmla="*/ 530760 w 689291"/>
              <a:gd name="connsiteY615" fmla="*/ 194062 h 425637"/>
              <a:gd name="connsiteX616" fmla="*/ 538148 w 689291"/>
              <a:gd name="connsiteY616" fmla="*/ 200892 h 425637"/>
              <a:gd name="connsiteX617" fmla="*/ 544977 w 689291"/>
              <a:gd name="connsiteY617" fmla="*/ 194062 h 425637"/>
              <a:gd name="connsiteX618" fmla="*/ 544977 w 689291"/>
              <a:gd name="connsiteY618" fmla="*/ 179286 h 425637"/>
              <a:gd name="connsiteX619" fmla="*/ 537676 w 689291"/>
              <a:gd name="connsiteY619" fmla="*/ 171898 h 425637"/>
              <a:gd name="connsiteX620" fmla="*/ 613467 w 689291"/>
              <a:gd name="connsiteY620" fmla="*/ 165724 h 425637"/>
              <a:gd name="connsiteX621" fmla="*/ 618431 w 689291"/>
              <a:gd name="connsiteY621" fmla="*/ 191073 h 425637"/>
              <a:gd name="connsiteX622" fmla="*/ 618431 w 689291"/>
              <a:gd name="connsiteY622" fmla="*/ 194062 h 425637"/>
              <a:gd name="connsiteX623" fmla="*/ 619146 w 689291"/>
              <a:gd name="connsiteY623" fmla="*/ 194723 h 425637"/>
              <a:gd name="connsiteX624" fmla="*/ 622303 w 689291"/>
              <a:gd name="connsiteY624" fmla="*/ 210848 h 425637"/>
              <a:gd name="connsiteX625" fmla="*/ 613136 w 689291"/>
              <a:gd name="connsiteY625" fmla="*/ 207126 h 425637"/>
              <a:gd name="connsiteX626" fmla="*/ 607090 w 689291"/>
              <a:gd name="connsiteY626" fmla="*/ 194535 h 425637"/>
              <a:gd name="connsiteX627" fmla="*/ 607047 w 689291"/>
              <a:gd name="connsiteY627" fmla="*/ 179286 h 425637"/>
              <a:gd name="connsiteX628" fmla="*/ 612615 w 689291"/>
              <a:gd name="connsiteY628" fmla="*/ 166083 h 425637"/>
              <a:gd name="connsiteX629" fmla="*/ 449083 w 689291"/>
              <a:gd name="connsiteY629" fmla="*/ 160881 h 425637"/>
              <a:gd name="connsiteX630" fmla="*/ 467296 w 689291"/>
              <a:gd name="connsiteY630" fmla="*/ 179652 h 425637"/>
              <a:gd name="connsiteX631" fmla="*/ 467296 w 689291"/>
              <a:gd name="connsiteY631" fmla="*/ 194429 h 425637"/>
              <a:gd name="connsiteX632" fmla="*/ 449083 w 689291"/>
              <a:gd name="connsiteY632" fmla="*/ 212641 h 425637"/>
              <a:gd name="connsiteX633" fmla="*/ 430355 w 689291"/>
              <a:gd name="connsiteY633" fmla="*/ 194901 h 425637"/>
              <a:gd name="connsiteX634" fmla="*/ 430312 w 689291"/>
              <a:gd name="connsiteY634" fmla="*/ 179652 h 425637"/>
              <a:gd name="connsiteX635" fmla="*/ 449083 w 689291"/>
              <a:gd name="connsiteY635" fmla="*/ 160881 h 425637"/>
              <a:gd name="connsiteX636" fmla="*/ 361415 w 689291"/>
              <a:gd name="connsiteY636" fmla="*/ 160881 h 425637"/>
              <a:gd name="connsiteX637" fmla="*/ 379628 w 689291"/>
              <a:gd name="connsiteY637" fmla="*/ 179652 h 425637"/>
              <a:gd name="connsiteX638" fmla="*/ 379628 w 689291"/>
              <a:gd name="connsiteY638" fmla="*/ 194429 h 425637"/>
              <a:gd name="connsiteX639" fmla="*/ 361415 w 689291"/>
              <a:gd name="connsiteY639" fmla="*/ 212641 h 425637"/>
              <a:gd name="connsiteX640" fmla="*/ 342687 w 689291"/>
              <a:gd name="connsiteY640" fmla="*/ 194901 h 425637"/>
              <a:gd name="connsiteX641" fmla="*/ 342644 w 689291"/>
              <a:gd name="connsiteY641" fmla="*/ 179652 h 425637"/>
              <a:gd name="connsiteX642" fmla="*/ 361415 w 689291"/>
              <a:gd name="connsiteY642" fmla="*/ 160881 h 425637"/>
              <a:gd name="connsiteX643" fmla="*/ 273744 w 689291"/>
              <a:gd name="connsiteY643" fmla="*/ 160881 h 425637"/>
              <a:gd name="connsiteX644" fmla="*/ 291956 w 689291"/>
              <a:gd name="connsiteY644" fmla="*/ 179652 h 425637"/>
              <a:gd name="connsiteX645" fmla="*/ 291956 w 689291"/>
              <a:gd name="connsiteY645" fmla="*/ 194429 h 425637"/>
              <a:gd name="connsiteX646" fmla="*/ 273744 w 689291"/>
              <a:gd name="connsiteY646" fmla="*/ 212641 h 425637"/>
              <a:gd name="connsiteX647" fmla="*/ 255017 w 689291"/>
              <a:gd name="connsiteY647" fmla="*/ 194901 h 425637"/>
              <a:gd name="connsiteX648" fmla="*/ 254974 w 689291"/>
              <a:gd name="connsiteY648" fmla="*/ 179652 h 425637"/>
              <a:gd name="connsiteX649" fmla="*/ 273744 w 689291"/>
              <a:gd name="connsiteY649" fmla="*/ 160881 h 425637"/>
              <a:gd name="connsiteX650" fmla="*/ 179514 w 689291"/>
              <a:gd name="connsiteY650" fmla="*/ 160881 h 425637"/>
              <a:gd name="connsiteX651" fmla="*/ 197726 w 689291"/>
              <a:gd name="connsiteY651" fmla="*/ 179652 h 425637"/>
              <a:gd name="connsiteX652" fmla="*/ 197726 w 689291"/>
              <a:gd name="connsiteY652" fmla="*/ 194429 h 425637"/>
              <a:gd name="connsiteX653" fmla="*/ 192390 w 689291"/>
              <a:gd name="connsiteY653" fmla="*/ 207304 h 425637"/>
              <a:gd name="connsiteX654" fmla="*/ 192075 w 689291"/>
              <a:gd name="connsiteY654" fmla="*/ 207434 h 425637"/>
              <a:gd name="connsiteX655" fmla="*/ 192018 w 689291"/>
              <a:gd name="connsiteY655" fmla="*/ 207570 h 425637"/>
              <a:gd name="connsiteX656" fmla="*/ 179143 w 689291"/>
              <a:gd name="connsiteY656" fmla="*/ 212908 h 425637"/>
              <a:gd name="connsiteX657" fmla="*/ 160414 w 689291"/>
              <a:gd name="connsiteY657" fmla="*/ 195168 h 425637"/>
              <a:gd name="connsiteX658" fmla="*/ 160372 w 689291"/>
              <a:gd name="connsiteY658" fmla="*/ 179919 h 425637"/>
              <a:gd name="connsiteX659" fmla="*/ 165940 w 689291"/>
              <a:gd name="connsiteY659" fmla="*/ 166716 h 425637"/>
              <a:gd name="connsiteX660" fmla="*/ 166255 w 689291"/>
              <a:gd name="connsiteY660" fmla="*/ 166583 h 425637"/>
              <a:gd name="connsiteX661" fmla="*/ 166311 w 689291"/>
              <a:gd name="connsiteY661" fmla="*/ 166448 h 425637"/>
              <a:gd name="connsiteX662" fmla="*/ 179514 w 689291"/>
              <a:gd name="connsiteY662" fmla="*/ 160881 h 425637"/>
              <a:gd name="connsiteX663" fmla="*/ 91846 w 689291"/>
              <a:gd name="connsiteY663" fmla="*/ 160881 h 425637"/>
              <a:gd name="connsiteX664" fmla="*/ 110059 w 689291"/>
              <a:gd name="connsiteY664" fmla="*/ 179652 h 425637"/>
              <a:gd name="connsiteX665" fmla="*/ 110059 w 689291"/>
              <a:gd name="connsiteY665" fmla="*/ 194429 h 425637"/>
              <a:gd name="connsiteX666" fmla="*/ 104722 w 689291"/>
              <a:gd name="connsiteY666" fmla="*/ 207304 h 425637"/>
              <a:gd name="connsiteX667" fmla="*/ 104406 w 689291"/>
              <a:gd name="connsiteY667" fmla="*/ 207434 h 425637"/>
              <a:gd name="connsiteX668" fmla="*/ 104350 w 689291"/>
              <a:gd name="connsiteY668" fmla="*/ 207570 h 425637"/>
              <a:gd name="connsiteX669" fmla="*/ 91474 w 689291"/>
              <a:gd name="connsiteY669" fmla="*/ 212908 h 425637"/>
              <a:gd name="connsiteX670" fmla="*/ 72747 w 689291"/>
              <a:gd name="connsiteY670" fmla="*/ 195168 h 425637"/>
              <a:gd name="connsiteX671" fmla="*/ 72738 w 689291"/>
              <a:gd name="connsiteY671" fmla="*/ 191940 h 425637"/>
              <a:gd name="connsiteX672" fmla="*/ 77195 w 689291"/>
              <a:gd name="connsiteY672" fmla="*/ 169269 h 425637"/>
              <a:gd name="connsiteX673" fmla="*/ 78271 w 689291"/>
              <a:gd name="connsiteY673" fmla="*/ 166716 h 425637"/>
              <a:gd name="connsiteX674" fmla="*/ 78587 w 689291"/>
              <a:gd name="connsiteY674" fmla="*/ 166583 h 425637"/>
              <a:gd name="connsiteX675" fmla="*/ 78643 w 689291"/>
              <a:gd name="connsiteY675" fmla="*/ 166448 h 425637"/>
              <a:gd name="connsiteX676" fmla="*/ 91846 w 689291"/>
              <a:gd name="connsiteY676" fmla="*/ 160881 h 425637"/>
              <a:gd name="connsiteX677" fmla="*/ 492640 w 689291"/>
              <a:gd name="connsiteY677" fmla="*/ 160662 h 425637"/>
              <a:gd name="connsiteX678" fmla="*/ 499041 w 689291"/>
              <a:gd name="connsiteY678" fmla="*/ 167063 h 425637"/>
              <a:gd name="connsiteX679" fmla="*/ 499041 w 689291"/>
              <a:gd name="connsiteY679" fmla="*/ 205850 h 425637"/>
              <a:gd name="connsiteX680" fmla="*/ 492640 w 689291"/>
              <a:gd name="connsiteY680" fmla="*/ 212250 h 425637"/>
              <a:gd name="connsiteX681" fmla="*/ 486240 w 689291"/>
              <a:gd name="connsiteY681" fmla="*/ 205850 h 425637"/>
              <a:gd name="connsiteX682" fmla="*/ 486240 w 689291"/>
              <a:gd name="connsiteY682" fmla="*/ 167063 h 425637"/>
              <a:gd name="connsiteX683" fmla="*/ 492640 w 689291"/>
              <a:gd name="connsiteY683" fmla="*/ 160662 h 425637"/>
              <a:gd name="connsiteX684" fmla="*/ 404969 w 689291"/>
              <a:gd name="connsiteY684" fmla="*/ 160662 h 425637"/>
              <a:gd name="connsiteX685" fmla="*/ 411370 w 689291"/>
              <a:gd name="connsiteY685" fmla="*/ 167063 h 425637"/>
              <a:gd name="connsiteX686" fmla="*/ 411370 w 689291"/>
              <a:gd name="connsiteY686" fmla="*/ 205850 h 425637"/>
              <a:gd name="connsiteX687" fmla="*/ 404969 w 689291"/>
              <a:gd name="connsiteY687" fmla="*/ 212250 h 425637"/>
              <a:gd name="connsiteX688" fmla="*/ 398569 w 689291"/>
              <a:gd name="connsiteY688" fmla="*/ 205850 h 425637"/>
              <a:gd name="connsiteX689" fmla="*/ 398569 w 689291"/>
              <a:gd name="connsiteY689" fmla="*/ 167063 h 425637"/>
              <a:gd name="connsiteX690" fmla="*/ 404969 w 689291"/>
              <a:gd name="connsiteY690" fmla="*/ 160662 h 425637"/>
              <a:gd name="connsiteX691" fmla="*/ 317298 w 689291"/>
              <a:gd name="connsiteY691" fmla="*/ 160662 h 425637"/>
              <a:gd name="connsiteX692" fmla="*/ 323699 w 689291"/>
              <a:gd name="connsiteY692" fmla="*/ 167063 h 425637"/>
              <a:gd name="connsiteX693" fmla="*/ 323699 w 689291"/>
              <a:gd name="connsiteY693" fmla="*/ 205850 h 425637"/>
              <a:gd name="connsiteX694" fmla="*/ 317298 w 689291"/>
              <a:gd name="connsiteY694" fmla="*/ 212250 h 425637"/>
              <a:gd name="connsiteX695" fmla="*/ 310898 w 689291"/>
              <a:gd name="connsiteY695" fmla="*/ 205850 h 425637"/>
              <a:gd name="connsiteX696" fmla="*/ 310898 w 689291"/>
              <a:gd name="connsiteY696" fmla="*/ 167063 h 425637"/>
              <a:gd name="connsiteX697" fmla="*/ 317298 w 689291"/>
              <a:gd name="connsiteY697" fmla="*/ 160662 h 425637"/>
              <a:gd name="connsiteX698" fmla="*/ 223070 w 689291"/>
              <a:gd name="connsiteY698" fmla="*/ 160662 h 425637"/>
              <a:gd name="connsiteX699" fmla="*/ 229471 w 689291"/>
              <a:gd name="connsiteY699" fmla="*/ 167063 h 425637"/>
              <a:gd name="connsiteX700" fmla="*/ 229471 w 689291"/>
              <a:gd name="connsiteY700" fmla="*/ 205850 h 425637"/>
              <a:gd name="connsiteX701" fmla="*/ 223070 w 689291"/>
              <a:gd name="connsiteY701" fmla="*/ 212250 h 425637"/>
              <a:gd name="connsiteX702" fmla="*/ 223018 w 689291"/>
              <a:gd name="connsiteY702" fmla="*/ 212198 h 425637"/>
              <a:gd name="connsiteX703" fmla="*/ 222699 w 689291"/>
              <a:gd name="connsiteY703" fmla="*/ 212517 h 425637"/>
              <a:gd name="connsiteX704" fmla="*/ 216299 w 689291"/>
              <a:gd name="connsiteY704" fmla="*/ 206117 h 425637"/>
              <a:gd name="connsiteX705" fmla="*/ 216299 w 689291"/>
              <a:gd name="connsiteY705" fmla="*/ 167329 h 425637"/>
              <a:gd name="connsiteX706" fmla="*/ 222699 w 689291"/>
              <a:gd name="connsiteY706" fmla="*/ 160929 h 425637"/>
              <a:gd name="connsiteX707" fmla="*/ 222752 w 689291"/>
              <a:gd name="connsiteY707" fmla="*/ 160981 h 425637"/>
              <a:gd name="connsiteX708" fmla="*/ 135400 w 689291"/>
              <a:gd name="connsiteY708" fmla="*/ 160662 h 425637"/>
              <a:gd name="connsiteX709" fmla="*/ 141801 w 689291"/>
              <a:gd name="connsiteY709" fmla="*/ 167063 h 425637"/>
              <a:gd name="connsiteX710" fmla="*/ 141801 w 689291"/>
              <a:gd name="connsiteY710" fmla="*/ 205850 h 425637"/>
              <a:gd name="connsiteX711" fmla="*/ 135400 w 689291"/>
              <a:gd name="connsiteY711" fmla="*/ 212250 h 425637"/>
              <a:gd name="connsiteX712" fmla="*/ 135347 w 689291"/>
              <a:gd name="connsiteY712" fmla="*/ 212198 h 425637"/>
              <a:gd name="connsiteX713" fmla="*/ 135028 w 689291"/>
              <a:gd name="connsiteY713" fmla="*/ 212517 h 425637"/>
              <a:gd name="connsiteX714" fmla="*/ 128628 w 689291"/>
              <a:gd name="connsiteY714" fmla="*/ 206117 h 425637"/>
              <a:gd name="connsiteX715" fmla="*/ 128628 w 689291"/>
              <a:gd name="connsiteY715" fmla="*/ 167329 h 425637"/>
              <a:gd name="connsiteX716" fmla="*/ 135028 w 689291"/>
              <a:gd name="connsiteY716" fmla="*/ 160929 h 425637"/>
              <a:gd name="connsiteX717" fmla="*/ 135080 w 689291"/>
              <a:gd name="connsiteY717" fmla="*/ 160981 h 425637"/>
              <a:gd name="connsiteX718" fmla="*/ 538148 w 689291"/>
              <a:gd name="connsiteY718" fmla="*/ 160515 h 425637"/>
              <a:gd name="connsiteX719" fmla="*/ 556361 w 689291"/>
              <a:gd name="connsiteY719" fmla="*/ 179286 h 425637"/>
              <a:gd name="connsiteX720" fmla="*/ 556361 w 689291"/>
              <a:gd name="connsiteY720" fmla="*/ 194062 h 425637"/>
              <a:gd name="connsiteX721" fmla="*/ 538148 w 689291"/>
              <a:gd name="connsiteY721" fmla="*/ 212275 h 425637"/>
              <a:gd name="connsiteX722" fmla="*/ 519420 w 689291"/>
              <a:gd name="connsiteY722" fmla="*/ 194535 h 425637"/>
              <a:gd name="connsiteX723" fmla="*/ 519377 w 689291"/>
              <a:gd name="connsiteY723" fmla="*/ 179286 h 425637"/>
              <a:gd name="connsiteX724" fmla="*/ 538148 w 689291"/>
              <a:gd name="connsiteY724" fmla="*/ 160515 h 425637"/>
              <a:gd name="connsiteX725" fmla="*/ 581702 w 689291"/>
              <a:gd name="connsiteY725" fmla="*/ 160296 h 425637"/>
              <a:gd name="connsiteX726" fmla="*/ 588102 w 689291"/>
              <a:gd name="connsiteY726" fmla="*/ 166696 h 425637"/>
              <a:gd name="connsiteX727" fmla="*/ 588102 w 689291"/>
              <a:gd name="connsiteY727" fmla="*/ 205485 h 425637"/>
              <a:gd name="connsiteX728" fmla="*/ 581702 w 689291"/>
              <a:gd name="connsiteY728" fmla="*/ 211884 h 425637"/>
              <a:gd name="connsiteX729" fmla="*/ 575301 w 689291"/>
              <a:gd name="connsiteY729" fmla="*/ 205485 h 425637"/>
              <a:gd name="connsiteX730" fmla="*/ 575301 w 689291"/>
              <a:gd name="connsiteY730" fmla="*/ 166696 h 425637"/>
              <a:gd name="connsiteX731" fmla="*/ 581702 w 689291"/>
              <a:gd name="connsiteY731" fmla="*/ 160296 h 425637"/>
              <a:gd name="connsiteX732" fmla="*/ 85915 w 689291"/>
              <a:gd name="connsiteY732" fmla="*/ 128342 h 425637"/>
              <a:gd name="connsiteX733" fmla="*/ 85915 w 689291"/>
              <a:gd name="connsiteY733" fmla="*/ 141332 h 425637"/>
              <a:gd name="connsiteX734" fmla="*/ 81890 w 689291"/>
              <a:gd name="connsiteY734" fmla="*/ 145384 h 425637"/>
              <a:gd name="connsiteX735" fmla="*/ 84953 w 689291"/>
              <a:gd name="connsiteY735" fmla="*/ 129803 h 425637"/>
              <a:gd name="connsiteX736" fmla="*/ 210384 w 689291"/>
              <a:gd name="connsiteY736" fmla="*/ 107506 h 425637"/>
              <a:gd name="connsiteX737" fmla="*/ 203870 w 689291"/>
              <a:gd name="connsiteY737" fmla="*/ 114018 h 425637"/>
              <a:gd name="connsiteX738" fmla="*/ 203870 w 689291"/>
              <a:gd name="connsiteY738" fmla="*/ 128794 h 425637"/>
              <a:gd name="connsiteX739" fmla="*/ 211111 w 689291"/>
              <a:gd name="connsiteY739" fmla="*/ 136119 h 425637"/>
              <a:gd name="connsiteX740" fmla="*/ 217717 w 689291"/>
              <a:gd name="connsiteY740" fmla="*/ 129060 h 425637"/>
              <a:gd name="connsiteX741" fmla="*/ 217717 w 689291"/>
              <a:gd name="connsiteY741" fmla="*/ 114285 h 425637"/>
              <a:gd name="connsiteX742" fmla="*/ 122714 w 689291"/>
              <a:gd name="connsiteY742" fmla="*/ 107506 h 425637"/>
              <a:gd name="connsiteX743" fmla="*/ 116200 w 689291"/>
              <a:gd name="connsiteY743" fmla="*/ 114018 h 425637"/>
              <a:gd name="connsiteX744" fmla="*/ 116200 w 689291"/>
              <a:gd name="connsiteY744" fmla="*/ 128794 h 425637"/>
              <a:gd name="connsiteX745" fmla="*/ 123439 w 689291"/>
              <a:gd name="connsiteY745" fmla="*/ 136119 h 425637"/>
              <a:gd name="connsiteX746" fmla="*/ 130047 w 689291"/>
              <a:gd name="connsiteY746" fmla="*/ 129060 h 425637"/>
              <a:gd name="connsiteX747" fmla="*/ 130047 w 689291"/>
              <a:gd name="connsiteY747" fmla="*/ 114285 h 425637"/>
              <a:gd name="connsiteX748" fmla="*/ 480270 w 689291"/>
              <a:gd name="connsiteY748" fmla="*/ 107188 h 425637"/>
              <a:gd name="connsiteX749" fmla="*/ 473440 w 689291"/>
              <a:gd name="connsiteY749" fmla="*/ 114018 h 425637"/>
              <a:gd name="connsiteX750" fmla="*/ 473440 w 689291"/>
              <a:gd name="connsiteY750" fmla="*/ 128794 h 425637"/>
              <a:gd name="connsiteX751" fmla="*/ 480743 w 689291"/>
              <a:gd name="connsiteY751" fmla="*/ 136183 h 425637"/>
              <a:gd name="connsiteX752" fmla="*/ 487659 w 689291"/>
              <a:gd name="connsiteY752" fmla="*/ 128794 h 425637"/>
              <a:gd name="connsiteX753" fmla="*/ 487659 w 689291"/>
              <a:gd name="connsiteY753" fmla="*/ 114018 h 425637"/>
              <a:gd name="connsiteX754" fmla="*/ 480270 w 689291"/>
              <a:gd name="connsiteY754" fmla="*/ 107188 h 425637"/>
              <a:gd name="connsiteX755" fmla="*/ 392599 w 689291"/>
              <a:gd name="connsiteY755" fmla="*/ 107188 h 425637"/>
              <a:gd name="connsiteX756" fmla="*/ 385769 w 689291"/>
              <a:gd name="connsiteY756" fmla="*/ 114018 h 425637"/>
              <a:gd name="connsiteX757" fmla="*/ 385769 w 689291"/>
              <a:gd name="connsiteY757" fmla="*/ 128794 h 425637"/>
              <a:gd name="connsiteX758" fmla="*/ 393071 w 689291"/>
              <a:gd name="connsiteY758" fmla="*/ 136183 h 425637"/>
              <a:gd name="connsiteX759" fmla="*/ 399987 w 689291"/>
              <a:gd name="connsiteY759" fmla="*/ 128794 h 425637"/>
              <a:gd name="connsiteX760" fmla="*/ 399987 w 689291"/>
              <a:gd name="connsiteY760" fmla="*/ 114018 h 425637"/>
              <a:gd name="connsiteX761" fmla="*/ 392599 w 689291"/>
              <a:gd name="connsiteY761" fmla="*/ 107188 h 425637"/>
              <a:gd name="connsiteX762" fmla="*/ 304971 w 689291"/>
              <a:gd name="connsiteY762" fmla="*/ 107188 h 425637"/>
              <a:gd name="connsiteX763" fmla="*/ 298141 w 689291"/>
              <a:gd name="connsiteY763" fmla="*/ 114018 h 425637"/>
              <a:gd name="connsiteX764" fmla="*/ 298141 w 689291"/>
              <a:gd name="connsiteY764" fmla="*/ 128794 h 425637"/>
              <a:gd name="connsiteX765" fmla="*/ 305444 w 689291"/>
              <a:gd name="connsiteY765" fmla="*/ 136183 h 425637"/>
              <a:gd name="connsiteX766" fmla="*/ 312359 w 689291"/>
              <a:gd name="connsiteY766" fmla="*/ 128794 h 425637"/>
              <a:gd name="connsiteX767" fmla="*/ 312359 w 689291"/>
              <a:gd name="connsiteY767" fmla="*/ 114018 h 425637"/>
              <a:gd name="connsiteX768" fmla="*/ 304971 w 689291"/>
              <a:gd name="connsiteY768" fmla="*/ 107188 h 425637"/>
              <a:gd name="connsiteX769" fmla="*/ 569375 w 689291"/>
              <a:gd name="connsiteY769" fmla="*/ 106823 h 425637"/>
              <a:gd name="connsiteX770" fmla="*/ 562546 w 689291"/>
              <a:gd name="connsiteY770" fmla="*/ 113653 h 425637"/>
              <a:gd name="connsiteX771" fmla="*/ 562546 w 689291"/>
              <a:gd name="connsiteY771" fmla="*/ 128428 h 425637"/>
              <a:gd name="connsiteX772" fmla="*/ 569847 w 689291"/>
              <a:gd name="connsiteY772" fmla="*/ 135816 h 425637"/>
              <a:gd name="connsiteX773" fmla="*/ 576763 w 689291"/>
              <a:gd name="connsiteY773" fmla="*/ 128428 h 425637"/>
              <a:gd name="connsiteX774" fmla="*/ 576763 w 689291"/>
              <a:gd name="connsiteY774" fmla="*/ 113653 h 425637"/>
              <a:gd name="connsiteX775" fmla="*/ 569375 w 689291"/>
              <a:gd name="connsiteY775" fmla="*/ 106823 h 425637"/>
              <a:gd name="connsiteX776" fmla="*/ 562281 w 689291"/>
              <a:gd name="connsiteY776" fmla="*/ 98380 h 425637"/>
              <a:gd name="connsiteX777" fmla="*/ 582211 w 689291"/>
              <a:gd name="connsiteY777" fmla="*/ 112182 h 425637"/>
              <a:gd name="connsiteX778" fmla="*/ 588126 w 689291"/>
              <a:gd name="connsiteY778" fmla="*/ 121211 h 425637"/>
              <a:gd name="connsiteX779" fmla="*/ 588146 w 689291"/>
              <a:gd name="connsiteY779" fmla="*/ 128428 h 425637"/>
              <a:gd name="connsiteX780" fmla="*/ 569375 w 689291"/>
              <a:gd name="connsiteY780" fmla="*/ 147199 h 425637"/>
              <a:gd name="connsiteX781" fmla="*/ 551162 w 689291"/>
              <a:gd name="connsiteY781" fmla="*/ 128428 h 425637"/>
              <a:gd name="connsiteX782" fmla="*/ 551162 w 689291"/>
              <a:gd name="connsiteY782" fmla="*/ 113653 h 425637"/>
              <a:gd name="connsiteX783" fmla="*/ 556499 w 689291"/>
              <a:gd name="connsiteY783" fmla="*/ 100777 h 425637"/>
              <a:gd name="connsiteX784" fmla="*/ 436712 w 689291"/>
              <a:gd name="connsiteY784" fmla="*/ 96145 h 425637"/>
              <a:gd name="connsiteX785" fmla="*/ 443112 w 689291"/>
              <a:gd name="connsiteY785" fmla="*/ 102545 h 425637"/>
              <a:gd name="connsiteX786" fmla="*/ 443112 w 689291"/>
              <a:gd name="connsiteY786" fmla="*/ 141332 h 425637"/>
              <a:gd name="connsiteX787" fmla="*/ 436712 w 689291"/>
              <a:gd name="connsiteY787" fmla="*/ 147776 h 425637"/>
              <a:gd name="connsiteX788" fmla="*/ 430312 w 689291"/>
              <a:gd name="connsiteY788" fmla="*/ 141375 h 425637"/>
              <a:gd name="connsiteX789" fmla="*/ 430312 w 689291"/>
              <a:gd name="connsiteY789" fmla="*/ 102545 h 425637"/>
              <a:gd name="connsiteX790" fmla="*/ 436712 w 689291"/>
              <a:gd name="connsiteY790" fmla="*/ 96145 h 425637"/>
              <a:gd name="connsiteX791" fmla="*/ 349084 w 689291"/>
              <a:gd name="connsiteY791" fmla="*/ 96145 h 425637"/>
              <a:gd name="connsiteX792" fmla="*/ 355484 w 689291"/>
              <a:gd name="connsiteY792" fmla="*/ 102545 h 425637"/>
              <a:gd name="connsiteX793" fmla="*/ 355484 w 689291"/>
              <a:gd name="connsiteY793" fmla="*/ 141332 h 425637"/>
              <a:gd name="connsiteX794" fmla="*/ 349084 w 689291"/>
              <a:gd name="connsiteY794" fmla="*/ 147776 h 425637"/>
              <a:gd name="connsiteX795" fmla="*/ 342684 w 689291"/>
              <a:gd name="connsiteY795" fmla="*/ 141375 h 425637"/>
              <a:gd name="connsiteX796" fmla="*/ 342684 w 689291"/>
              <a:gd name="connsiteY796" fmla="*/ 102545 h 425637"/>
              <a:gd name="connsiteX797" fmla="*/ 349084 w 689291"/>
              <a:gd name="connsiteY797" fmla="*/ 96145 h 425637"/>
              <a:gd name="connsiteX798" fmla="*/ 261413 w 689291"/>
              <a:gd name="connsiteY798" fmla="*/ 96145 h 425637"/>
              <a:gd name="connsiteX799" fmla="*/ 267813 w 689291"/>
              <a:gd name="connsiteY799" fmla="*/ 102545 h 425637"/>
              <a:gd name="connsiteX800" fmla="*/ 267813 w 689291"/>
              <a:gd name="connsiteY800" fmla="*/ 141332 h 425637"/>
              <a:gd name="connsiteX801" fmla="*/ 261413 w 689291"/>
              <a:gd name="connsiteY801" fmla="*/ 147776 h 425637"/>
              <a:gd name="connsiteX802" fmla="*/ 255013 w 689291"/>
              <a:gd name="connsiteY802" fmla="*/ 141375 h 425637"/>
              <a:gd name="connsiteX803" fmla="*/ 255013 w 689291"/>
              <a:gd name="connsiteY803" fmla="*/ 102545 h 425637"/>
              <a:gd name="connsiteX804" fmla="*/ 261413 w 689291"/>
              <a:gd name="connsiteY804" fmla="*/ 96145 h 425637"/>
              <a:gd name="connsiteX805" fmla="*/ 167143 w 689291"/>
              <a:gd name="connsiteY805" fmla="*/ 96145 h 425637"/>
              <a:gd name="connsiteX806" fmla="*/ 173543 w 689291"/>
              <a:gd name="connsiteY806" fmla="*/ 102545 h 425637"/>
              <a:gd name="connsiteX807" fmla="*/ 173543 w 689291"/>
              <a:gd name="connsiteY807" fmla="*/ 141332 h 425637"/>
              <a:gd name="connsiteX808" fmla="*/ 167143 w 689291"/>
              <a:gd name="connsiteY808" fmla="*/ 147776 h 425637"/>
              <a:gd name="connsiteX809" fmla="*/ 167089 w 689291"/>
              <a:gd name="connsiteY809" fmla="*/ 147722 h 425637"/>
              <a:gd name="connsiteX810" fmla="*/ 166772 w 689291"/>
              <a:gd name="connsiteY810" fmla="*/ 148042 h 425637"/>
              <a:gd name="connsiteX811" fmla="*/ 160372 w 689291"/>
              <a:gd name="connsiteY811" fmla="*/ 141642 h 425637"/>
              <a:gd name="connsiteX812" fmla="*/ 160372 w 689291"/>
              <a:gd name="connsiteY812" fmla="*/ 102811 h 425637"/>
              <a:gd name="connsiteX813" fmla="*/ 166772 w 689291"/>
              <a:gd name="connsiteY813" fmla="*/ 96411 h 425637"/>
              <a:gd name="connsiteX814" fmla="*/ 166824 w 689291"/>
              <a:gd name="connsiteY814" fmla="*/ 96463 h 425637"/>
              <a:gd name="connsiteX815" fmla="*/ 480313 w 689291"/>
              <a:gd name="connsiteY815" fmla="*/ 95806 h 425637"/>
              <a:gd name="connsiteX816" fmla="*/ 499041 w 689291"/>
              <a:gd name="connsiteY816" fmla="*/ 113546 h 425637"/>
              <a:gd name="connsiteX817" fmla="*/ 499084 w 689291"/>
              <a:gd name="connsiteY817" fmla="*/ 128794 h 425637"/>
              <a:gd name="connsiteX818" fmla="*/ 480313 w 689291"/>
              <a:gd name="connsiteY818" fmla="*/ 147565 h 425637"/>
              <a:gd name="connsiteX819" fmla="*/ 462100 w 689291"/>
              <a:gd name="connsiteY819" fmla="*/ 128794 h 425637"/>
              <a:gd name="connsiteX820" fmla="*/ 462100 w 689291"/>
              <a:gd name="connsiteY820" fmla="*/ 114018 h 425637"/>
              <a:gd name="connsiteX821" fmla="*/ 480313 w 689291"/>
              <a:gd name="connsiteY821" fmla="*/ 95806 h 425637"/>
              <a:gd name="connsiteX822" fmla="*/ 392643 w 689291"/>
              <a:gd name="connsiteY822" fmla="*/ 95806 h 425637"/>
              <a:gd name="connsiteX823" fmla="*/ 411371 w 689291"/>
              <a:gd name="connsiteY823" fmla="*/ 113546 h 425637"/>
              <a:gd name="connsiteX824" fmla="*/ 411414 w 689291"/>
              <a:gd name="connsiteY824" fmla="*/ 128794 h 425637"/>
              <a:gd name="connsiteX825" fmla="*/ 392643 w 689291"/>
              <a:gd name="connsiteY825" fmla="*/ 147565 h 425637"/>
              <a:gd name="connsiteX826" fmla="*/ 374430 w 689291"/>
              <a:gd name="connsiteY826" fmla="*/ 128794 h 425637"/>
              <a:gd name="connsiteX827" fmla="*/ 374430 w 689291"/>
              <a:gd name="connsiteY827" fmla="*/ 114018 h 425637"/>
              <a:gd name="connsiteX828" fmla="*/ 392643 w 689291"/>
              <a:gd name="connsiteY828" fmla="*/ 95806 h 425637"/>
              <a:gd name="connsiteX829" fmla="*/ 304971 w 689291"/>
              <a:gd name="connsiteY829" fmla="*/ 95806 h 425637"/>
              <a:gd name="connsiteX830" fmla="*/ 323700 w 689291"/>
              <a:gd name="connsiteY830" fmla="*/ 113546 h 425637"/>
              <a:gd name="connsiteX831" fmla="*/ 323742 w 689291"/>
              <a:gd name="connsiteY831" fmla="*/ 128794 h 425637"/>
              <a:gd name="connsiteX832" fmla="*/ 304971 w 689291"/>
              <a:gd name="connsiteY832" fmla="*/ 147565 h 425637"/>
              <a:gd name="connsiteX833" fmla="*/ 286759 w 689291"/>
              <a:gd name="connsiteY833" fmla="*/ 128794 h 425637"/>
              <a:gd name="connsiteX834" fmla="*/ 286759 w 689291"/>
              <a:gd name="connsiteY834" fmla="*/ 114018 h 425637"/>
              <a:gd name="connsiteX835" fmla="*/ 304971 w 689291"/>
              <a:gd name="connsiteY835" fmla="*/ 95806 h 425637"/>
              <a:gd name="connsiteX836" fmla="*/ 210744 w 689291"/>
              <a:gd name="connsiteY836" fmla="*/ 95806 h 425637"/>
              <a:gd name="connsiteX837" fmla="*/ 229472 w 689291"/>
              <a:gd name="connsiteY837" fmla="*/ 113546 h 425637"/>
              <a:gd name="connsiteX838" fmla="*/ 229515 w 689291"/>
              <a:gd name="connsiteY838" fmla="*/ 128794 h 425637"/>
              <a:gd name="connsiteX839" fmla="*/ 223947 w 689291"/>
              <a:gd name="connsiteY839" fmla="*/ 141997 h 425637"/>
              <a:gd name="connsiteX840" fmla="*/ 223632 w 689291"/>
              <a:gd name="connsiteY840" fmla="*/ 142130 h 425637"/>
              <a:gd name="connsiteX841" fmla="*/ 223576 w 689291"/>
              <a:gd name="connsiteY841" fmla="*/ 142263 h 425637"/>
              <a:gd name="connsiteX842" fmla="*/ 210373 w 689291"/>
              <a:gd name="connsiteY842" fmla="*/ 147831 h 425637"/>
              <a:gd name="connsiteX843" fmla="*/ 192160 w 689291"/>
              <a:gd name="connsiteY843" fmla="*/ 129060 h 425637"/>
              <a:gd name="connsiteX844" fmla="*/ 192160 w 689291"/>
              <a:gd name="connsiteY844" fmla="*/ 114285 h 425637"/>
              <a:gd name="connsiteX845" fmla="*/ 197497 w 689291"/>
              <a:gd name="connsiteY845" fmla="*/ 101410 h 425637"/>
              <a:gd name="connsiteX846" fmla="*/ 197812 w 689291"/>
              <a:gd name="connsiteY846" fmla="*/ 101279 h 425637"/>
              <a:gd name="connsiteX847" fmla="*/ 197869 w 689291"/>
              <a:gd name="connsiteY847" fmla="*/ 101142 h 425637"/>
              <a:gd name="connsiteX848" fmla="*/ 210744 w 689291"/>
              <a:gd name="connsiteY848" fmla="*/ 95806 h 425637"/>
              <a:gd name="connsiteX849" fmla="*/ 123073 w 689291"/>
              <a:gd name="connsiteY849" fmla="*/ 95806 h 425637"/>
              <a:gd name="connsiteX850" fmla="*/ 141801 w 689291"/>
              <a:gd name="connsiteY850" fmla="*/ 113546 h 425637"/>
              <a:gd name="connsiteX851" fmla="*/ 141844 w 689291"/>
              <a:gd name="connsiteY851" fmla="*/ 128794 h 425637"/>
              <a:gd name="connsiteX852" fmla="*/ 136276 w 689291"/>
              <a:gd name="connsiteY852" fmla="*/ 141997 h 425637"/>
              <a:gd name="connsiteX853" fmla="*/ 135961 w 689291"/>
              <a:gd name="connsiteY853" fmla="*/ 142130 h 425637"/>
              <a:gd name="connsiteX854" fmla="*/ 135904 w 689291"/>
              <a:gd name="connsiteY854" fmla="*/ 142263 h 425637"/>
              <a:gd name="connsiteX855" fmla="*/ 122701 w 689291"/>
              <a:gd name="connsiteY855" fmla="*/ 147831 h 425637"/>
              <a:gd name="connsiteX856" fmla="*/ 104489 w 689291"/>
              <a:gd name="connsiteY856" fmla="*/ 129060 h 425637"/>
              <a:gd name="connsiteX857" fmla="*/ 104489 w 689291"/>
              <a:gd name="connsiteY857" fmla="*/ 114285 h 425637"/>
              <a:gd name="connsiteX858" fmla="*/ 109826 w 689291"/>
              <a:gd name="connsiteY858" fmla="*/ 101410 h 425637"/>
              <a:gd name="connsiteX859" fmla="*/ 110141 w 689291"/>
              <a:gd name="connsiteY859" fmla="*/ 101279 h 425637"/>
              <a:gd name="connsiteX860" fmla="*/ 110197 w 689291"/>
              <a:gd name="connsiteY860" fmla="*/ 101142 h 425637"/>
              <a:gd name="connsiteX861" fmla="*/ 123073 w 689291"/>
              <a:gd name="connsiteY861" fmla="*/ 95806 h 425637"/>
              <a:gd name="connsiteX862" fmla="*/ 525818 w 689291"/>
              <a:gd name="connsiteY862" fmla="*/ 95778 h 425637"/>
              <a:gd name="connsiteX863" fmla="*/ 532218 w 689291"/>
              <a:gd name="connsiteY863" fmla="*/ 102178 h 425637"/>
              <a:gd name="connsiteX864" fmla="*/ 532218 w 689291"/>
              <a:gd name="connsiteY864" fmla="*/ 140966 h 425637"/>
              <a:gd name="connsiteX865" fmla="*/ 525818 w 689291"/>
              <a:gd name="connsiteY865" fmla="*/ 147409 h 425637"/>
              <a:gd name="connsiteX866" fmla="*/ 519417 w 689291"/>
              <a:gd name="connsiteY866" fmla="*/ 141010 h 425637"/>
              <a:gd name="connsiteX867" fmla="*/ 519417 w 689291"/>
              <a:gd name="connsiteY867" fmla="*/ 102178 h 425637"/>
              <a:gd name="connsiteX868" fmla="*/ 525818 w 689291"/>
              <a:gd name="connsiteY868" fmla="*/ 95778 h 425637"/>
              <a:gd name="connsiteX869" fmla="*/ 499147 w 689291"/>
              <a:gd name="connsiteY869" fmla="*/ 73621 h 425637"/>
              <a:gd name="connsiteX870" fmla="*/ 503721 w 689291"/>
              <a:gd name="connsiteY870" fmla="*/ 74567 h 425637"/>
              <a:gd name="connsiteX871" fmla="*/ 505756 w 689291"/>
              <a:gd name="connsiteY871" fmla="*/ 77921 h 425637"/>
              <a:gd name="connsiteX872" fmla="*/ 507642 w 689291"/>
              <a:gd name="connsiteY872" fmla="*/ 84001 h 425637"/>
              <a:gd name="connsiteX873" fmla="*/ 516722 w 689291"/>
              <a:gd name="connsiteY873" fmla="*/ 80678 h 425637"/>
              <a:gd name="connsiteX874" fmla="*/ 517789 w 689291"/>
              <a:gd name="connsiteY874" fmla="*/ 81759 h 425637"/>
              <a:gd name="connsiteX875" fmla="*/ 519884 w 689291"/>
              <a:gd name="connsiteY875" fmla="*/ 79520 h 425637"/>
              <a:gd name="connsiteX876" fmla="*/ 522694 w 689291"/>
              <a:gd name="connsiteY876" fmla="*/ 78492 h 425637"/>
              <a:gd name="connsiteX877" fmla="*/ 533454 w 689291"/>
              <a:gd name="connsiteY877" fmla="*/ 80718 h 425637"/>
              <a:gd name="connsiteX878" fmla="*/ 530564 w 689291"/>
              <a:gd name="connsiteY878" fmla="*/ 87573 h 425637"/>
              <a:gd name="connsiteX879" fmla="*/ 517360 w 689291"/>
              <a:gd name="connsiteY879" fmla="*/ 93141 h 425637"/>
              <a:gd name="connsiteX880" fmla="*/ 499147 w 689291"/>
              <a:gd name="connsiteY880" fmla="*/ 74370 h 425637"/>
              <a:gd name="connsiteX881" fmla="*/ 480203 w 689291"/>
              <a:gd name="connsiteY881" fmla="*/ 71275 h 425637"/>
              <a:gd name="connsiteX882" fmla="*/ 480203 w 689291"/>
              <a:gd name="connsiteY882" fmla="*/ 86948 h 425637"/>
              <a:gd name="connsiteX883" fmla="*/ 473802 w 689291"/>
              <a:gd name="connsiteY883" fmla="*/ 93348 h 425637"/>
              <a:gd name="connsiteX884" fmla="*/ 467402 w 689291"/>
              <a:gd name="connsiteY884" fmla="*/ 86948 h 425637"/>
              <a:gd name="connsiteX885" fmla="*/ 467402 w 689291"/>
              <a:gd name="connsiteY885" fmla="*/ 73698 h 425637"/>
              <a:gd name="connsiteX886" fmla="*/ 133031 w 689291"/>
              <a:gd name="connsiteY886" fmla="*/ 59720 h 425637"/>
              <a:gd name="connsiteX887" fmla="*/ 133031 w 689291"/>
              <a:gd name="connsiteY887" fmla="*/ 85755 h 425637"/>
              <a:gd name="connsiteX888" fmla="*/ 126631 w 689291"/>
              <a:gd name="connsiteY888" fmla="*/ 92155 h 425637"/>
              <a:gd name="connsiteX889" fmla="*/ 120232 w 689291"/>
              <a:gd name="connsiteY889" fmla="*/ 85755 h 425637"/>
              <a:gd name="connsiteX890" fmla="*/ 120232 w 689291"/>
              <a:gd name="connsiteY890" fmla="*/ 76207 h 425637"/>
              <a:gd name="connsiteX891" fmla="*/ 129467 w 689291"/>
              <a:gd name="connsiteY891" fmla="*/ 62176 h 425637"/>
              <a:gd name="connsiteX892" fmla="*/ 413671 w 689291"/>
              <a:gd name="connsiteY892" fmla="*/ 54301 h 425637"/>
              <a:gd name="connsiteX893" fmla="*/ 422860 w 689291"/>
              <a:gd name="connsiteY893" fmla="*/ 63727 h 425637"/>
              <a:gd name="connsiteX894" fmla="*/ 422860 w 689291"/>
              <a:gd name="connsiteY894" fmla="*/ 74370 h 425637"/>
              <a:gd name="connsiteX895" fmla="*/ 430162 w 689291"/>
              <a:gd name="connsiteY895" fmla="*/ 81759 h 425637"/>
              <a:gd name="connsiteX896" fmla="*/ 435196 w 689291"/>
              <a:gd name="connsiteY896" fmla="*/ 76381 h 425637"/>
              <a:gd name="connsiteX897" fmla="*/ 438004 w 689291"/>
              <a:gd name="connsiteY897" fmla="*/ 79261 h 425637"/>
              <a:gd name="connsiteX898" fmla="*/ 447126 w 689291"/>
              <a:gd name="connsiteY898" fmla="*/ 77535 h 425637"/>
              <a:gd name="connsiteX899" fmla="*/ 442893 w 689291"/>
              <a:gd name="connsiteY899" fmla="*/ 87573 h 425637"/>
              <a:gd name="connsiteX900" fmla="*/ 429690 w 689291"/>
              <a:gd name="connsiteY900" fmla="*/ 93141 h 425637"/>
              <a:gd name="connsiteX901" fmla="*/ 411477 w 689291"/>
              <a:gd name="connsiteY901" fmla="*/ 74370 h 425637"/>
              <a:gd name="connsiteX902" fmla="*/ 411477 w 689291"/>
              <a:gd name="connsiteY902" fmla="*/ 59594 h 425637"/>
              <a:gd name="connsiteX903" fmla="*/ 345485 w 689291"/>
              <a:gd name="connsiteY903" fmla="*/ 51572 h 425637"/>
              <a:gd name="connsiteX904" fmla="*/ 338655 w 689291"/>
              <a:gd name="connsiteY904" fmla="*/ 58401 h 425637"/>
              <a:gd name="connsiteX905" fmla="*/ 338655 w 689291"/>
              <a:gd name="connsiteY905" fmla="*/ 73178 h 425637"/>
              <a:gd name="connsiteX906" fmla="*/ 345958 w 689291"/>
              <a:gd name="connsiteY906" fmla="*/ 80566 h 425637"/>
              <a:gd name="connsiteX907" fmla="*/ 352874 w 689291"/>
              <a:gd name="connsiteY907" fmla="*/ 73178 h 425637"/>
              <a:gd name="connsiteX908" fmla="*/ 352874 w 689291"/>
              <a:gd name="connsiteY908" fmla="*/ 58401 h 425637"/>
              <a:gd name="connsiteX909" fmla="*/ 345485 w 689291"/>
              <a:gd name="connsiteY909" fmla="*/ 51572 h 425637"/>
              <a:gd name="connsiteX910" fmla="*/ 257815 w 689291"/>
              <a:gd name="connsiteY910" fmla="*/ 51572 h 425637"/>
              <a:gd name="connsiteX911" fmla="*/ 250985 w 689291"/>
              <a:gd name="connsiteY911" fmla="*/ 58401 h 425637"/>
              <a:gd name="connsiteX912" fmla="*/ 250985 w 689291"/>
              <a:gd name="connsiteY912" fmla="*/ 73178 h 425637"/>
              <a:gd name="connsiteX913" fmla="*/ 258288 w 689291"/>
              <a:gd name="connsiteY913" fmla="*/ 80566 h 425637"/>
              <a:gd name="connsiteX914" fmla="*/ 265203 w 689291"/>
              <a:gd name="connsiteY914" fmla="*/ 73178 h 425637"/>
              <a:gd name="connsiteX915" fmla="*/ 265203 w 689291"/>
              <a:gd name="connsiteY915" fmla="*/ 58401 h 425637"/>
              <a:gd name="connsiteX916" fmla="*/ 257815 w 689291"/>
              <a:gd name="connsiteY916" fmla="*/ 51572 h 425637"/>
              <a:gd name="connsiteX917" fmla="*/ 170187 w 689291"/>
              <a:gd name="connsiteY917" fmla="*/ 51572 h 425637"/>
              <a:gd name="connsiteX918" fmla="*/ 163358 w 689291"/>
              <a:gd name="connsiteY918" fmla="*/ 58401 h 425637"/>
              <a:gd name="connsiteX919" fmla="*/ 163358 w 689291"/>
              <a:gd name="connsiteY919" fmla="*/ 73178 h 425637"/>
              <a:gd name="connsiteX920" fmla="*/ 170660 w 689291"/>
              <a:gd name="connsiteY920" fmla="*/ 80566 h 425637"/>
              <a:gd name="connsiteX921" fmla="*/ 177575 w 689291"/>
              <a:gd name="connsiteY921" fmla="*/ 73178 h 425637"/>
              <a:gd name="connsiteX922" fmla="*/ 177575 w 689291"/>
              <a:gd name="connsiteY922" fmla="*/ 58401 h 425637"/>
              <a:gd name="connsiteX923" fmla="*/ 170187 w 689291"/>
              <a:gd name="connsiteY923" fmla="*/ 51572 h 425637"/>
              <a:gd name="connsiteX924" fmla="*/ 386134 w 689291"/>
              <a:gd name="connsiteY924" fmla="*/ 41759 h 425637"/>
              <a:gd name="connsiteX925" fmla="*/ 392534 w 689291"/>
              <a:gd name="connsiteY925" fmla="*/ 48160 h 425637"/>
              <a:gd name="connsiteX926" fmla="*/ 392534 w 689291"/>
              <a:gd name="connsiteY926" fmla="*/ 86948 h 425637"/>
              <a:gd name="connsiteX927" fmla="*/ 386134 w 689291"/>
              <a:gd name="connsiteY927" fmla="*/ 93348 h 425637"/>
              <a:gd name="connsiteX928" fmla="*/ 379733 w 689291"/>
              <a:gd name="connsiteY928" fmla="*/ 86948 h 425637"/>
              <a:gd name="connsiteX929" fmla="*/ 379733 w 689291"/>
              <a:gd name="connsiteY929" fmla="*/ 48160 h 425637"/>
              <a:gd name="connsiteX930" fmla="*/ 386134 w 689291"/>
              <a:gd name="connsiteY930" fmla="*/ 41759 h 425637"/>
              <a:gd name="connsiteX931" fmla="*/ 301928 w 689291"/>
              <a:gd name="connsiteY931" fmla="*/ 40567 h 425637"/>
              <a:gd name="connsiteX932" fmla="*/ 308328 w 689291"/>
              <a:gd name="connsiteY932" fmla="*/ 46968 h 425637"/>
              <a:gd name="connsiteX933" fmla="*/ 308328 w 689291"/>
              <a:gd name="connsiteY933" fmla="*/ 85755 h 425637"/>
              <a:gd name="connsiteX934" fmla="*/ 301928 w 689291"/>
              <a:gd name="connsiteY934" fmla="*/ 92155 h 425637"/>
              <a:gd name="connsiteX935" fmla="*/ 295528 w 689291"/>
              <a:gd name="connsiteY935" fmla="*/ 85755 h 425637"/>
              <a:gd name="connsiteX936" fmla="*/ 295528 w 689291"/>
              <a:gd name="connsiteY936" fmla="*/ 46968 h 425637"/>
              <a:gd name="connsiteX937" fmla="*/ 301928 w 689291"/>
              <a:gd name="connsiteY937" fmla="*/ 40567 h 425637"/>
              <a:gd name="connsiteX938" fmla="*/ 214300 w 689291"/>
              <a:gd name="connsiteY938" fmla="*/ 40567 h 425637"/>
              <a:gd name="connsiteX939" fmla="*/ 220700 w 689291"/>
              <a:gd name="connsiteY939" fmla="*/ 46968 h 425637"/>
              <a:gd name="connsiteX940" fmla="*/ 220700 w 689291"/>
              <a:gd name="connsiteY940" fmla="*/ 85755 h 425637"/>
              <a:gd name="connsiteX941" fmla="*/ 214300 w 689291"/>
              <a:gd name="connsiteY941" fmla="*/ 92155 h 425637"/>
              <a:gd name="connsiteX942" fmla="*/ 207900 w 689291"/>
              <a:gd name="connsiteY942" fmla="*/ 85755 h 425637"/>
              <a:gd name="connsiteX943" fmla="*/ 207900 w 689291"/>
              <a:gd name="connsiteY943" fmla="*/ 46968 h 425637"/>
              <a:gd name="connsiteX944" fmla="*/ 214300 w 689291"/>
              <a:gd name="connsiteY944" fmla="*/ 40567 h 425637"/>
              <a:gd name="connsiteX945" fmla="*/ 345529 w 689291"/>
              <a:gd name="connsiteY945" fmla="*/ 40189 h 425637"/>
              <a:gd name="connsiteX946" fmla="*/ 364257 w 689291"/>
              <a:gd name="connsiteY946" fmla="*/ 57930 h 425637"/>
              <a:gd name="connsiteX947" fmla="*/ 364300 w 689291"/>
              <a:gd name="connsiteY947" fmla="*/ 73178 h 425637"/>
              <a:gd name="connsiteX948" fmla="*/ 345529 w 689291"/>
              <a:gd name="connsiteY948" fmla="*/ 91949 h 425637"/>
              <a:gd name="connsiteX949" fmla="*/ 327316 w 689291"/>
              <a:gd name="connsiteY949" fmla="*/ 73178 h 425637"/>
              <a:gd name="connsiteX950" fmla="*/ 327316 w 689291"/>
              <a:gd name="connsiteY950" fmla="*/ 58401 h 425637"/>
              <a:gd name="connsiteX951" fmla="*/ 345529 w 689291"/>
              <a:gd name="connsiteY951" fmla="*/ 40189 h 425637"/>
              <a:gd name="connsiteX952" fmla="*/ 257858 w 689291"/>
              <a:gd name="connsiteY952" fmla="*/ 40189 h 425637"/>
              <a:gd name="connsiteX953" fmla="*/ 276586 w 689291"/>
              <a:gd name="connsiteY953" fmla="*/ 57930 h 425637"/>
              <a:gd name="connsiteX954" fmla="*/ 276629 w 689291"/>
              <a:gd name="connsiteY954" fmla="*/ 73178 h 425637"/>
              <a:gd name="connsiteX955" fmla="*/ 257858 w 689291"/>
              <a:gd name="connsiteY955" fmla="*/ 91949 h 425637"/>
              <a:gd name="connsiteX956" fmla="*/ 239646 w 689291"/>
              <a:gd name="connsiteY956" fmla="*/ 73178 h 425637"/>
              <a:gd name="connsiteX957" fmla="*/ 239646 w 689291"/>
              <a:gd name="connsiteY957" fmla="*/ 58401 h 425637"/>
              <a:gd name="connsiteX958" fmla="*/ 257858 w 689291"/>
              <a:gd name="connsiteY958" fmla="*/ 40189 h 425637"/>
              <a:gd name="connsiteX959" fmla="*/ 170187 w 689291"/>
              <a:gd name="connsiteY959" fmla="*/ 40189 h 425637"/>
              <a:gd name="connsiteX960" fmla="*/ 188916 w 689291"/>
              <a:gd name="connsiteY960" fmla="*/ 57930 h 425637"/>
              <a:gd name="connsiteX961" fmla="*/ 188958 w 689291"/>
              <a:gd name="connsiteY961" fmla="*/ 73178 h 425637"/>
              <a:gd name="connsiteX962" fmla="*/ 170187 w 689291"/>
              <a:gd name="connsiteY962" fmla="*/ 91949 h 425637"/>
              <a:gd name="connsiteX963" fmla="*/ 151975 w 689291"/>
              <a:gd name="connsiteY963" fmla="*/ 73178 h 425637"/>
              <a:gd name="connsiteX964" fmla="*/ 151975 w 689291"/>
              <a:gd name="connsiteY964" fmla="*/ 58401 h 425637"/>
              <a:gd name="connsiteX965" fmla="*/ 170187 w 689291"/>
              <a:gd name="connsiteY965" fmla="*/ 40189 h 425637"/>
              <a:gd name="connsiteX966" fmla="*/ 188915 w 689291"/>
              <a:gd name="connsiteY966" fmla="*/ 21208 h 425637"/>
              <a:gd name="connsiteX967" fmla="*/ 188915 w 689291"/>
              <a:gd name="connsiteY967" fmla="*/ 21358 h 425637"/>
              <a:gd name="connsiteX968" fmla="*/ 182514 w 689291"/>
              <a:gd name="connsiteY968" fmla="*/ 27758 h 425637"/>
              <a:gd name="connsiteX969" fmla="*/ 181248 w 689291"/>
              <a:gd name="connsiteY969" fmla="*/ 26492 h 425637"/>
              <a:gd name="connsiteX970" fmla="*/ 351455 w 689291"/>
              <a:gd name="connsiteY970" fmla="*/ 15543 h 425637"/>
              <a:gd name="connsiteX971" fmla="*/ 364256 w 689291"/>
              <a:gd name="connsiteY971" fmla="*/ 20197 h 425637"/>
              <a:gd name="connsiteX972" fmla="*/ 364256 w 689291"/>
              <a:gd name="connsiteY972" fmla="*/ 21358 h 425637"/>
              <a:gd name="connsiteX973" fmla="*/ 357855 w 689291"/>
              <a:gd name="connsiteY973" fmla="*/ 27758 h 425637"/>
              <a:gd name="connsiteX974" fmla="*/ 351455 w 689291"/>
              <a:gd name="connsiteY974" fmla="*/ 21358 h 425637"/>
              <a:gd name="connsiteX975" fmla="*/ 244844 w 689291"/>
              <a:gd name="connsiteY975" fmla="*/ 3245 h 425637"/>
              <a:gd name="connsiteX976" fmla="*/ 244844 w 689291"/>
              <a:gd name="connsiteY976" fmla="*/ 9936 h 425637"/>
              <a:gd name="connsiteX977" fmla="*/ 226631 w 689291"/>
              <a:gd name="connsiteY977" fmla="*/ 28149 h 425637"/>
              <a:gd name="connsiteX978" fmla="*/ 213949 w 689291"/>
              <a:gd name="connsiteY978" fmla="*/ 23000 h 425637"/>
              <a:gd name="connsiteX979" fmla="*/ 208874 w 689291"/>
              <a:gd name="connsiteY979" fmla="*/ 12430 h 425637"/>
              <a:gd name="connsiteX980" fmla="*/ 219242 w 689291"/>
              <a:gd name="connsiteY980" fmla="*/ 9145 h 425637"/>
              <a:gd name="connsiteX981" fmla="*/ 219242 w 689291"/>
              <a:gd name="connsiteY981" fmla="*/ 9936 h 425637"/>
              <a:gd name="connsiteX982" fmla="*/ 226631 w 689291"/>
              <a:gd name="connsiteY982" fmla="*/ 16766 h 425637"/>
              <a:gd name="connsiteX983" fmla="*/ 233461 w 689291"/>
              <a:gd name="connsiteY983" fmla="*/ 9936 h 425637"/>
              <a:gd name="connsiteX984" fmla="*/ 233461 w 689291"/>
              <a:gd name="connsiteY984" fmla="*/ 4641 h 425637"/>
              <a:gd name="connsiteX985" fmla="*/ 234515 w 689291"/>
              <a:gd name="connsiteY985" fmla="*/ 4307 h 425637"/>
              <a:gd name="connsiteX986" fmla="*/ 295548 w 689291"/>
              <a:gd name="connsiteY986" fmla="*/ 2231 h 425637"/>
              <a:gd name="connsiteX987" fmla="*/ 306911 w 689291"/>
              <a:gd name="connsiteY987" fmla="*/ 3555 h 425637"/>
              <a:gd name="connsiteX988" fmla="*/ 306911 w 689291"/>
              <a:gd name="connsiteY988" fmla="*/ 9936 h 425637"/>
              <a:gd name="connsiteX989" fmla="*/ 314299 w 689291"/>
              <a:gd name="connsiteY989" fmla="*/ 16766 h 425637"/>
              <a:gd name="connsiteX990" fmla="*/ 321128 w 689291"/>
              <a:gd name="connsiteY990" fmla="*/ 9936 h 425637"/>
              <a:gd name="connsiteX991" fmla="*/ 321128 w 689291"/>
              <a:gd name="connsiteY991" fmla="*/ 5211 h 425637"/>
              <a:gd name="connsiteX992" fmla="*/ 323940 w 689291"/>
              <a:gd name="connsiteY992" fmla="*/ 5539 h 425637"/>
              <a:gd name="connsiteX993" fmla="*/ 332511 w 689291"/>
              <a:gd name="connsiteY993" fmla="*/ 8655 h 425637"/>
              <a:gd name="connsiteX994" fmla="*/ 332511 w 689291"/>
              <a:gd name="connsiteY994" fmla="*/ 9936 h 425637"/>
              <a:gd name="connsiteX995" fmla="*/ 314299 w 689291"/>
              <a:gd name="connsiteY995" fmla="*/ 28149 h 425637"/>
              <a:gd name="connsiteX996" fmla="*/ 295570 w 689291"/>
              <a:gd name="connsiteY996" fmla="*/ 10409 h 425637"/>
              <a:gd name="connsiteX997" fmla="*/ 276404 w 689291"/>
              <a:gd name="connsiteY997" fmla="*/ 0 h 425637"/>
              <a:gd name="connsiteX998" fmla="*/ 276586 w 689291"/>
              <a:gd name="connsiteY998" fmla="*/ 21 h 425637"/>
              <a:gd name="connsiteX999" fmla="*/ 276586 w 689291"/>
              <a:gd name="connsiteY999" fmla="*/ 21358 h 425637"/>
              <a:gd name="connsiteX1000" fmla="*/ 270185 w 689291"/>
              <a:gd name="connsiteY1000" fmla="*/ 27758 h 425637"/>
              <a:gd name="connsiteX1001" fmla="*/ 263785 w 689291"/>
              <a:gd name="connsiteY1001" fmla="*/ 21358 h 425637"/>
              <a:gd name="connsiteX1002" fmla="*/ 263785 w 689291"/>
              <a:gd name="connsiteY1002" fmla="*/ 1297 h 425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Lst>
            <a:rect l="l" t="t" r="r" b="b"/>
            <a:pathLst>
              <a:path w="689291" h="425637">
                <a:moveTo>
                  <a:pt x="301556" y="409819"/>
                </a:moveTo>
                <a:cubicBezTo>
                  <a:pt x="305078" y="409819"/>
                  <a:pt x="307956" y="412697"/>
                  <a:pt x="307956" y="416220"/>
                </a:cubicBezTo>
                <a:lnTo>
                  <a:pt x="307956" y="425637"/>
                </a:lnTo>
                <a:lnTo>
                  <a:pt x="295156" y="425637"/>
                </a:lnTo>
                <a:lnTo>
                  <a:pt x="295156" y="416220"/>
                </a:lnTo>
                <a:cubicBezTo>
                  <a:pt x="295156" y="412697"/>
                  <a:pt x="298033" y="409819"/>
                  <a:pt x="301556" y="409819"/>
                </a:cubicBezTo>
                <a:close/>
                <a:moveTo>
                  <a:pt x="213927" y="409819"/>
                </a:moveTo>
                <a:cubicBezTo>
                  <a:pt x="217449" y="409819"/>
                  <a:pt x="220327" y="412697"/>
                  <a:pt x="220327" y="416220"/>
                </a:cubicBezTo>
                <a:lnTo>
                  <a:pt x="220327" y="425637"/>
                </a:lnTo>
                <a:lnTo>
                  <a:pt x="207527" y="425637"/>
                </a:lnTo>
                <a:lnTo>
                  <a:pt x="207527" y="416220"/>
                </a:lnTo>
                <a:cubicBezTo>
                  <a:pt x="207527" y="412697"/>
                  <a:pt x="210405" y="409819"/>
                  <a:pt x="213927" y="409819"/>
                </a:cubicBezTo>
                <a:close/>
                <a:moveTo>
                  <a:pt x="126259" y="409819"/>
                </a:moveTo>
                <a:cubicBezTo>
                  <a:pt x="129781" y="409819"/>
                  <a:pt x="132659" y="412697"/>
                  <a:pt x="132659" y="416220"/>
                </a:cubicBezTo>
                <a:lnTo>
                  <a:pt x="132659" y="425637"/>
                </a:lnTo>
                <a:lnTo>
                  <a:pt x="119859" y="425637"/>
                </a:lnTo>
                <a:lnTo>
                  <a:pt x="119859" y="416220"/>
                </a:lnTo>
                <a:cubicBezTo>
                  <a:pt x="119859" y="412697"/>
                  <a:pt x="122737" y="409819"/>
                  <a:pt x="126259" y="409819"/>
                </a:cubicBezTo>
                <a:close/>
                <a:moveTo>
                  <a:pt x="345157" y="409440"/>
                </a:moveTo>
                <a:cubicBezTo>
                  <a:pt x="349989" y="409440"/>
                  <a:pt x="354466" y="411394"/>
                  <a:pt x="357838" y="414589"/>
                </a:cubicBezTo>
                <a:lnTo>
                  <a:pt x="363144" y="425637"/>
                </a:lnTo>
                <a:lnTo>
                  <a:pt x="350320" y="425637"/>
                </a:lnTo>
                <a:lnTo>
                  <a:pt x="345113" y="420823"/>
                </a:lnTo>
                <a:lnTo>
                  <a:pt x="340299" y="425637"/>
                </a:lnTo>
                <a:lnTo>
                  <a:pt x="327779" y="425637"/>
                </a:lnTo>
                <a:lnTo>
                  <a:pt x="332281" y="414777"/>
                </a:lnTo>
                <a:cubicBezTo>
                  <a:pt x="335577" y="411480"/>
                  <a:pt x="340131" y="409440"/>
                  <a:pt x="345157" y="409440"/>
                </a:cubicBezTo>
                <a:close/>
                <a:moveTo>
                  <a:pt x="257485" y="409440"/>
                </a:moveTo>
                <a:cubicBezTo>
                  <a:pt x="262318" y="409440"/>
                  <a:pt x="266796" y="411394"/>
                  <a:pt x="270168" y="414589"/>
                </a:cubicBezTo>
                <a:lnTo>
                  <a:pt x="275472" y="425637"/>
                </a:lnTo>
                <a:lnTo>
                  <a:pt x="262650" y="425637"/>
                </a:lnTo>
                <a:lnTo>
                  <a:pt x="257442" y="420823"/>
                </a:lnTo>
                <a:lnTo>
                  <a:pt x="252628" y="425637"/>
                </a:lnTo>
                <a:lnTo>
                  <a:pt x="240109" y="425637"/>
                </a:lnTo>
                <a:lnTo>
                  <a:pt x="244610" y="414777"/>
                </a:lnTo>
                <a:cubicBezTo>
                  <a:pt x="247907" y="411480"/>
                  <a:pt x="252460" y="409440"/>
                  <a:pt x="257485" y="409440"/>
                </a:cubicBezTo>
                <a:close/>
                <a:moveTo>
                  <a:pt x="169815" y="409440"/>
                </a:moveTo>
                <a:cubicBezTo>
                  <a:pt x="174648" y="409440"/>
                  <a:pt x="179126" y="411394"/>
                  <a:pt x="182498" y="414589"/>
                </a:cubicBezTo>
                <a:lnTo>
                  <a:pt x="187803" y="425637"/>
                </a:lnTo>
                <a:lnTo>
                  <a:pt x="175022" y="425637"/>
                </a:lnTo>
                <a:lnTo>
                  <a:pt x="169815" y="420823"/>
                </a:lnTo>
                <a:lnTo>
                  <a:pt x="165001" y="425637"/>
                </a:lnTo>
                <a:lnTo>
                  <a:pt x="152438" y="425637"/>
                </a:lnTo>
                <a:lnTo>
                  <a:pt x="156940" y="414777"/>
                </a:lnTo>
                <a:cubicBezTo>
                  <a:pt x="160237" y="411480"/>
                  <a:pt x="164790" y="409440"/>
                  <a:pt x="169815" y="409440"/>
                </a:cubicBezTo>
                <a:close/>
                <a:moveTo>
                  <a:pt x="75588" y="409440"/>
                </a:moveTo>
                <a:cubicBezTo>
                  <a:pt x="80420" y="409440"/>
                  <a:pt x="84898" y="411394"/>
                  <a:pt x="88269" y="414589"/>
                </a:cubicBezTo>
                <a:lnTo>
                  <a:pt x="93575" y="425637"/>
                </a:lnTo>
                <a:lnTo>
                  <a:pt x="80751" y="425637"/>
                </a:lnTo>
                <a:lnTo>
                  <a:pt x="75544" y="420823"/>
                </a:lnTo>
                <a:lnTo>
                  <a:pt x="71867" y="424500"/>
                </a:lnTo>
                <a:lnTo>
                  <a:pt x="59722" y="421991"/>
                </a:lnTo>
                <a:lnTo>
                  <a:pt x="62712" y="414777"/>
                </a:lnTo>
                <a:cubicBezTo>
                  <a:pt x="66009" y="411480"/>
                  <a:pt x="70562" y="409440"/>
                  <a:pt x="75588" y="409440"/>
                </a:cubicBezTo>
                <a:close/>
                <a:moveTo>
                  <a:pt x="566331" y="409186"/>
                </a:moveTo>
                <a:cubicBezTo>
                  <a:pt x="569853" y="409186"/>
                  <a:pt x="572730" y="412064"/>
                  <a:pt x="572730" y="415587"/>
                </a:cubicBezTo>
                <a:lnTo>
                  <a:pt x="572730" y="425637"/>
                </a:lnTo>
                <a:lnTo>
                  <a:pt x="559931" y="425637"/>
                </a:lnTo>
                <a:lnTo>
                  <a:pt x="559931" y="415587"/>
                </a:lnTo>
                <a:cubicBezTo>
                  <a:pt x="559931" y="412064"/>
                  <a:pt x="562809" y="409186"/>
                  <a:pt x="566331" y="409186"/>
                </a:cubicBezTo>
                <a:close/>
                <a:moveTo>
                  <a:pt x="478702" y="409186"/>
                </a:moveTo>
                <a:cubicBezTo>
                  <a:pt x="482225" y="409186"/>
                  <a:pt x="485103" y="412064"/>
                  <a:pt x="485103" y="415587"/>
                </a:cubicBezTo>
                <a:lnTo>
                  <a:pt x="485103" y="425637"/>
                </a:lnTo>
                <a:lnTo>
                  <a:pt x="482952" y="425637"/>
                </a:lnTo>
                <a:lnTo>
                  <a:pt x="472302" y="425637"/>
                </a:lnTo>
                <a:lnTo>
                  <a:pt x="472302" y="415587"/>
                </a:lnTo>
                <a:cubicBezTo>
                  <a:pt x="472302" y="412064"/>
                  <a:pt x="475180" y="409186"/>
                  <a:pt x="478702" y="409186"/>
                </a:cubicBezTo>
                <a:close/>
                <a:moveTo>
                  <a:pt x="391035" y="409186"/>
                </a:moveTo>
                <a:cubicBezTo>
                  <a:pt x="394557" y="409186"/>
                  <a:pt x="397435" y="412064"/>
                  <a:pt x="397435" y="415587"/>
                </a:cubicBezTo>
                <a:lnTo>
                  <a:pt x="397435" y="425637"/>
                </a:lnTo>
                <a:lnTo>
                  <a:pt x="387582" y="425637"/>
                </a:lnTo>
                <a:lnTo>
                  <a:pt x="384634" y="425637"/>
                </a:lnTo>
                <a:lnTo>
                  <a:pt x="384634" y="415587"/>
                </a:lnTo>
                <a:cubicBezTo>
                  <a:pt x="384634" y="412064"/>
                  <a:pt x="387512" y="409186"/>
                  <a:pt x="391035" y="409186"/>
                </a:cubicBezTo>
                <a:close/>
                <a:moveTo>
                  <a:pt x="609931" y="408808"/>
                </a:moveTo>
                <a:cubicBezTo>
                  <a:pt x="614764" y="408808"/>
                  <a:pt x="619242" y="410762"/>
                  <a:pt x="622614" y="413957"/>
                </a:cubicBezTo>
                <a:lnTo>
                  <a:pt x="626938" y="422963"/>
                </a:lnTo>
                <a:lnTo>
                  <a:pt x="615448" y="425329"/>
                </a:lnTo>
                <a:lnTo>
                  <a:pt x="609888" y="420191"/>
                </a:lnTo>
                <a:lnTo>
                  <a:pt x="604442" y="425637"/>
                </a:lnTo>
                <a:lnTo>
                  <a:pt x="592293" y="425637"/>
                </a:lnTo>
                <a:lnTo>
                  <a:pt x="597056" y="414145"/>
                </a:lnTo>
                <a:cubicBezTo>
                  <a:pt x="600353" y="410848"/>
                  <a:pt x="604906" y="408808"/>
                  <a:pt x="609931" y="408808"/>
                </a:cubicBezTo>
                <a:close/>
                <a:moveTo>
                  <a:pt x="522261" y="408808"/>
                </a:moveTo>
                <a:cubicBezTo>
                  <a:pt x="527093" y="408808"/>
                  <a:pt x="531571" y="410762"/>
                  <a:pt x="534943" y="413957"/>
                </a:cubicBezTo>
                <a:lnTo>
                  <a:pt x="540551" y="425637"/>
                </a:lnTo>
                <a:lnTo>
                  <a:pt x="528109" y="425637"/>
                </a:lnTo>
                <a:lnTo>
                  <a:pt x="522218" y="420191"/>
                </a:lnTo>
                <a:lnTo>
                  <a:pt x="516771" y="425637"/>
                </a:lnTo>
                <a:lnTo>
                  <a:pt x="504621" y="425637"/>
                </a:lnTo>
                <a:lnTo>
                  <a:pt x="509385" y="414145"/>
                </a:lnTo>
                <a:cubicBezTo>
                  <a:pt x="512682" y="410848"/>
                  <a:pt x="517235" y="408808"/>
                  <a:pt x="522261" y="408808"/>
                </a:cubicBezTo>
                <a:close/>
                <a:moveTo>
                  <a:pt x="434591" y="408808"/>
                </a:moveTo>
                <a:cubicBezTo>
                  <a:pt x="439423" y="408808"/>
                  <a:pt x="443901" y="410762"/>
                  <a:pt x="447273" y="413957"/>
                </a:cubicBezTo>
                <a:lnTo>
                  <a:pt x="452881" y="425637"/>
                </a:lnTo>
                <a:lnTo>
                  <a:pt x="440482" y="425637"/>
                </a:lnTo>
                <a:lnTo>
                  <a:pt x="434591" y="420191"/>
                </a:lnTo>
                <a:lnTo>
                  <a:pt x="429144" y="425637"/>
                </a:lnTo>
                <a:lnTo>
                  <a:pt x="416951" y="425637"/>
                </a:lnTo>
                <a:lnTo>
                  <a:pt x="421715" y="414145"/>
                </a:lnTo>
                <a:cubicBezTo>
                  <a:pt x="425011" y="410848"/>
                  <a:pt x="429565" y="408808"/>
                  <a:pt x="434591" y="408808"/>
                </a:cubicBezTo>
                <a:close/>
                <a:moveTo>
                  <a:pt x="313454" y="357023"/>
                </a:moveTo>
                <a:cubicBezTo>
                  <a:pt x="310447" y="357023"/>
                  <a:pt x="306538" y="360073"/>
                  <a:pt x="306538" y="364410"/>
                </a:cubicBezTo>
                <a:lnTo>
                  <a:pt x="306538" y="379188"/>
                </a:lnTo>
                <a:cubicBezTo>
                  <a:pt x="306839" y="382753"/>
                  <a:pt x="310189" y="386017"/>
                  <a:pt x="313927" y="386017"/>
                </a:cubicBezTo>
                <a:cubicBezTo>
                  <a:pt x="317621" y="386017"/>
                  <a:pt x="320756" y="382881"/>
                  <a:pt x="320756" y="379188"/>
                </a:cubicBezTo>
                <a:lnTo>
                  <a:pt x="320756" y="364410"/>
                </a:lnTo>
                <a:cubicBezTo>
                  <a:pt x="320756" y="360674"/>
                  <a:pt x="317492" y="357366"/>
                  <a:pt x="313454" y="357023"/>
                </a:cubicBezTo>
                <a:close/>
                <a:moveTo>
                  <a:pt x="225786" y="357023"/>
                </a:moveTo>
                <a:cubicBezTo>
                  <a:pt x="222779" y="357023"/>
                  <a:pt x="218870" y="360073"/>
                  <a:pt x="218870" y="364410"/>
                </a:cubicBezTo>
                <a:lnTo>
                  <a:pt x="218870" y="379188"/>
                </a:lnTo>
                <a:cubicBezTo>
                  <a:pt x="219172" y="382753"/>
                  <a:pt x="222522" y="386017"/>
                  <a:pt x="226258" y="386017"/>
                </a:cubicBezTo>
                <a:cubicBezTo>
                  <a:pt x="229952" y="386017"/>
                  <a:pt x="233088" y="382881"/>
                  <a:pt x="233088" y="379188"/>
                </a:cubicBezTo>
                <a:lnTo>
                  <a:pt x="233088" y="364410"/>
                </a:lnTo>
                <a:cubicBezTo>
                  <a:pt x="233088" y="360674"/>
                  <a:pt x="229823" y="357366"/>
                  <a:pt x="225786" y="357023"/>
                </a:cubicBezTo>
                <a:close/>
                <a:moveTo>
                  <a:pt x="138115" y="357023"/>
                </a:moveTo>
                <a:cubicBezTo>
                  <a:pt x="135108" y="357023"/>
                  <a:pt x="131199" y="360073"/>
                  <a:pt x="131199" y="364410"/>
                </a:cubicBezTo>
                <a:lnTo>
                  <a:pt x="131199" y="379188"/>
                </a:lnTo>
                <a:cubicBezTo>
                  <a:pt x="131500" y="382753"/>
                  <a:pt x="134851" y="386017"/>
                  <a:pt x="138588" y="386017"/>
                </a:cubicBezTo>
                <a:cubicBezTo>
                  <a:pt x="142282" y="386017"/>
                  <a:pt x="145418" y="382881"/>
                  <a:pt x="145418" y="379188"/>
                </a:cubicBezTo>
                <a:lnTo>
                  <a:pt x="145418" y="364410"/>
                </a:lnTo>
                <a:cubicBezTo>
                  <a:pt x="145418" y="360674"/>
                  <a:pt x="142153" y="357366"/>
                  <a:pt x="138115" y="357023"/>
                </a:cubicBezTo>
                <a:close/>
                <a:moveTo>
                  <a:pt x="43885" y="357023"/>
                </a:moveTo>
                <a:cubicBezTo>
                  <a:pt x="40878" y="357023"/>
                  <a:pt x="36969" y="360073"/>
                  <a:pt x="36969" y="364410"/>
                </a:cubicBezTo>
                <a:lnTo>
                  <a:pt x="36969" y="379188"/>
                </a:lnTo>
                <a:cubicBezTo>
                  <a:pt x="37270" y="382753"/>
                  <a:pt x="40620" y="386017"/>
                  <a:pt x="44358" y="386017"/>
                </a:cubicBezTo>
                <a:cubicBezTo>
                  <a:pt x="48052" y="386017"/>
                  <a:pt x="51187" y="382881"/>
                  <a:pt x="51187" y="379188"/>
                </a:cubicBezTo>
                <a:lnTo>
                  <a:pt x="51187" y="364410"/>
                </a:lnTo>
                <a:cubicBezTo>
                  <a:pt x="51187" y="360674"/>
                  <a:pt x="47923" y="357366"/>
                  <a:pt x="43885" y="357023"/>
                </a:cubicBezTo>
                <a:close/>
                <a:moveTo>
                  <a:pt x="672460" y="356390"/>
                </a:moveTo>
                <a:cubicBezTo>
                  <a:pt x="669453" y="356390"/>
                  <a:pt x="665544" y="359440"/>
                  <a:pt x="665544" y="363778"/>
                </a:cubicBezTo>
                <a:lnTo>
                  <a:pt x="665544" y="378555"/>
                </a:lnTo>
                <a:cubicBezTo>
                  <a:pt x="665845" y="382120"/>
                  <a:pt x="669195" y="385385"/>
                  <a:pt x="672932" y="385385"/>
                </a:cubicBezTo>
                <a:cubicBezTo>
                  <a:pt x="676626" y="385385"/>
                  <a:pt x="679761" y="382249"/>
                  <a:pt x="679761" y="378555"/>
                </a:cubicBezTo>
                <a:lnTo>
                  <a:pt x="679761" y="363778"/>
                </a:lnTo>
                <a:cubicBezTo>
                  <a:pt x="679761" y="360041"/>
                  <a:pt x="676497" y="356733"/>
                  <a:pt x="672460" y="356390"/>
                </a:cubicBezTo>
                <a:close/>
                <a:moveTo>
                  <a:pt x="578229" y="356390"/>
                </a:moveTo>
                <a:cubicBezTo>
                  <a:pt x="575222" y="356390"/>
                  <a:pt x="571313" y="359440"/>
                  <a:pt x="571313" y="363778"/>
                </a:cubicBezTo>
                <a:lnTo>
                  <a:pt x="571313" y="378555"/>
                </a:lnTo>
                <a:cubicBezTo>
                  <a:pt x="571614" y="382120"/>
                  <a:pt x="574964" y="385385"/>
                  <a:pt x="578702" y="385385"/>
                </a:cubicBezTo>
                <a:cubicBezTo>
                  <a:pt x="582395" y="385385"/>
                  <a:pt x="585531" y="382249"/>
                  <a:pt x="585531" y="378555"/>
                </a:cubicBezTo>
                <a:lnTo>
                  <a:pt x="585531" y="363778"/>
                </a:lnTo>
                <a:cubicBezTo>
                  <a:pt x="585531" y="360041"/>
                  <a:pt x="582266" y="356733"/>
                  <a:pt x="578229" y="356390"/>
                </a:cubicBezTo>
                <a:close/>
                <a:moveTo>
                  <a:pt x="490561" y="356390"/>
                </a:moveTo>
                <a:cubicBezTo>
                  <a:pt x="487554" y="356390"/>
                  <a:pt x="483646" y="359440"/>
                  <a:pt x="483646" y="363778"/>
                </a:cubicBezTo>
                <a:lnTo>
                  <a:pt x="483646" y="378555"/>
                </a:lnTo>
                <a:cubicBezTo>
                  <a:pt x="483946" y="382120"/>
                  <a:pt x="487296" y="385385"/>
                  <a:pt x="491033" y="385385"/>
                </a:cubicBezTo>
                <a:cubicBezTo>
                  <a:pt x="494728" y="385385"/>
                  <a:pt x="497863" y="382249"/>
                  <a:pt x="497863" y="378555"/>
                </a:cubicBezTo>
                <a:lnTo>
                  <a:pt x="497863" y="363778"/>
                </a:lnTo>
                <a:cubicBezTo>
                  <a:pt x="497863" y="360041"/>
                  <a:pt x="494599" y="356733"/>
                  <a:pt x="490561" y="356390"/>
                </a:cubicBezTo>
                <a:close/>
                <a:moveTo>
                  <a:pt x="402891" y="356390"/>
                </a:moveTo>
                <a:cubicBezTo>
                  <a:pt x="399884" y="356390"/>
                  <a:pt x="395975" y="359440"/>
                  <a:pt x="395975" y="363778"/>
                </a:cubicBezTo>
                <a:lnTo>
                  <a:pt x="395975" y="378555"/>
                </a:lnTo>
                <a:cubicBezTo>
                  <a:pt x="396276" y="382120"/>
                  <a:pt x="399626" y="385385"/>
                  <a:pt x="403363" y="385385"/>
                </a:cubicBezTo>
                <a:cubicBezTo>
                  <a:pt x="407058" y="385385"/>
                  <a:pt x="410192" y="382249"/>
                  <a:pt x="410192" y="378555"/>
                </a:cubicBezTo>
                <a:lnTo>
                  <a:pt x="410192" y="363778"/>
                </a:lnTo>
                <a:cubicBezTo>
                  <a:pt x="410192" y="360041"/>
                  <a:pt x="406929" y="356733"/>
                  <a:pt x="402891" y="356390"/>
                </a:cubicBezTo>
                <a:close/>
                <a:moveTo>
                  <a:pt x="313927" y="345640"/>
                </a:moveTo>
                <a:cubicBezTo>
                  <a:pt x="324364" y="346499"/>
                  <a:pt x="332139" y="354747"/>
                  <a:pt x="332139" y="364410"/>
                </a:cubicBezTo>
                <a:lnTo>
                  <a:pt x="332139" y="379188"/>
                </a:lnTo>
                <a:cubicBezTo>
                  <a:pt x="332139" y="389238"/>
                  <a:pt x="323977" y="397400"/>
                  <a:pt x="313927" y="397400"/>
                </a:cubicBezTo>
                <a:cubicBezTo>
                  <a:pt x="304261" y="397400"/>
                  <a:pt x="296015" y="389582"/>
                  <a:pt x="295198" y="379660"/>
                </a:cubicBezTo>
                <a:lnTo>
                  <a:pt x="295156" y="364410"/>
                </a:lnTo>
                <a:cubicBezTo>
                  <a:pt x="295156" y="354231"/>
                  <a:pt x="303746" y="345640"/>
                  <a:pt x="313927" y="345640"/>
                </a:cubicBezTo>
                <a:close/>
                <a:moveTo>
                  <a:pt x="226258" y="345640"/>
                </a:moveTo>
                <a:cubicBezTo>
                  <a:pt x="236697" y="346499"/>
                  <a:pt x="244471" y="354747"/>
                  <a:pt x="244471" y="364410"/>
                </a:cubicBezTo>
                <a:lnTo>
                  <a:pt x="244471" y="379188"/>
                </a:lnTo>
                <a:cubicBezTo>
                  <a:pt x="244471" y="389238"/>
                  <a:pt x="236310" y="397400"/>
                  <a:pt x="226258" y="397400"/>
                </a:cubicBezTo>
                <a:cubicBezTo>
                  <a:pt x="216594" y="397400"/>
                  <a:pt x="208347" y="389582"/>
                  <a:pt x="207530" y="379660"/>
                </a:cubicBezTo>
                <a:lnTo>
                  <a:pt x="207488" y="364410"/>
                </a:lnTo>
                <a:cubicBezTo>
                  <a:pt x="207488" y="354231"/>
                  <a:pt x="216079" y="345640"/>
                  <a:pt x="226258" y="345640"/>
                </a:cubicBezTo>
                <a:close/>
                <a:moveTo>
                  <a:pt x="138588" y="345640"/>
                </a:moveTo>
                <a:cubicBezTo>
                  <a:pt x="149026" y="346499"/>
                  <a:pt x="156800" y="354747"/>
                  <a:pt x="156800" y="364410"/>
                </a:cubicBezTo>
                <a:lnTo>
                  <a:pt x="156800" y="379188"/>
                </a:lnTo>
                <a:cubicBezTo>
                  <a:pt x="156800" y="389238"/>
                  <a:pt x="148639" y="397400"/>
                  <a:pt x="138588" y="397400"/>
                </a:cubicBezTo>
                <a:cubicBezTo>
                  <a:pt x="128923" y="397400"/>
                  <a:pt x="120676" y="389582"/>
                  <a:pt x="119860" y="379660"/>
                </a:cubicBezTo>
                <a:lnTo>
                  <a:pt x="119817" y="364410"/>
                </a:lnTo>
                <a:cubicBezTo>
                  <a:pt x="119817" y="354231"/>
                  <a:pt x="128407" y="345640"/>
                  <a:pt x="138588" y="345640"/>
                </a:cubicBezTo>
                <a:close/>
                <a:moveTo>
                  <a:pt x="44358" y="345640"/>
                </a:moveTo>
                <a:cubicBezTo>
                  <a:pt x="54796" y="346499"/>
                  <a:pt x="62570" y="354747"/>
                  <a:pt x="62570" y="364410"/>
                </a:cubicBezTo>
                <a:lnTo>
                  <a:pt x="62570" y="379188"/>
                </a:lnTo>
                <a:cubicBezTo>
                  <a:pt x="62570" y="389238"/>
                  <a:pt x="54409" y="397400"/>
                  <a:pt x="44358" y="397400"/>
                </a:cubicBezTo>
                <a:cubicBezTo>
                  <a:pt x="34692" y="397400"/>
                  <a:pt x="26446" y="389582"/>
                  <a:pt x="25629" y="379660"/>
                </a:cubicBezTo>
                <a:lnTo>
                  <a:pt x="25587" y="364410"/>
                </a:lnTo>
                <a:cubicBezTo>
                  <a:pt x="25587" y="354231"/>
                  <a:pt x="34177" y="345640"/>
                  <a:pt x="44358" y="345640"/>
                </a:cubicBezTo>
                <a:close/>
                <a:moveTo>
                  <a:pt x="357483" y="345421"/>
                </a:moveTo>
                <a:cubicBezTo>
                  <a:pt x="361005" y="345421"/>
                  <a:pt x="363884" y="348299"/>
                  <a:pt x="363884" y="351822"/>
                </a:cubicBezTo>
                <a:lnTo>
                  <a:pt x="363884" y="390609"/>
                </a:lnTo>
                <a:cubicBezTo>
                  <a:pt x="363884" y="394132"/>
                  <a:pt x="361005" y="397009"/>
                  <a:pt x="357483" y="397009"/>
                </a:cubicBezTo>
                <a:cubicBezTo>
                  <a:pt x="353961" y="397009"/>
                  <a:pt x="351083" y="394132"/>
                  <a:pt x="351083" y="390609"/>
                </a:cubicBezTo>
                <a:lnTo>
                  <a:pt x="351083" y="351822"/>
                </a:lnTo>
                <a:cubicBezTo>
                  <a:pt x="351083" y="348299"/>
                  <a:pt x="353961" y="345421"/>
                  <a:pt x="357483" y="345421"/>
                </a:cubicBezTo>
                <a:close/>
                <a:moveTo>
                  <a:pt x="269812" y="345421"/>
                </a:moveTo>
                <a:cubicBezTo>
                  <a:pt x="273335" y="345421"/>
                  <a:pt x="276213" y="348299"/>
                  <a:pt x="276213" y="351822"/>
                </a:cubicBezTo>
                <a:lnTo>
                  <a:pt x="276213" y="390609"/>
                </a:lnTo>
                <a:cubicBezTo>
                  <a:pt x="276213" y="394132"/>
                  <a:pt x="273335" y="397009"/>
                  <a:pt x="269812" y="397009"/>
                </a:cubicBezTo>
                <a:cubicBezTo>
                  <a:pt x="266290" y="397009"/>
                  <a:pt x="263412" y="394132"/>
                  <a:pt x="263412" y="390609"/>
                </a:cubicBezTo>
                <a:lnTo>
                  <a:pt x="263412" y="351822"/>
                </a:lnTo>
                <a:cubicBezTo>
                  <a:pt x="263412" y="348299"/>
                  <a:pt x="266290" y="345421"/>
                  <a:pt x="269812" y="345421"/>
                </a:cubicBezTo>
                <a:close/>
                <a:moveTo>
                  <a:pt x="182142" y="345421"/>
                </a:moveTo>
                <a:cubicBezTo>
                  <a:pt x="185665" y="345421"/>
                  <a:pt x="188543" y="348299"/>
                  <a:pt x="188543" y="351822"/>
                </a:cubicBezTo>
                <a:lnTo>
                  <a:pt x="188543" y="390609"/>
                </a:lnTo>
                <a:cubicBezTo>
                  <a:pt x="188543" y="394132"/>
                  <a:pt x="185665" y="397009"/>
                  <a:pt x="182142" y="397009"/>
                </a:cubicBezTo>
                <a:cubicBezTo>
                  <a:pt x="178620" y="397009"/>
                  <a:pt x="175742" y="394132"/>
                  <a:pt x="175742" y="390609"/>
                </a:cubicBezTo>
                <a:lnTo>
                  <a:pt x="175742" y="351822"/>
                </a:lnTo>
                <a:cubicBezTo>
                  <a:pt x="175742" y="348299"/>
                  <a:pt x="178620" y="345421"/>
                  <a:pt x="182142" y="345421"/>
                </a:cubicBezTo>
                <a:close/>
                <a:moveTo>
                  <a:pt x="87914" y="345421"/>
                </a:moveTo>
                <a:cubicBezTo>
                  <a:pt x="91437" y="345421"/>
                  <a:pt x="94315" y="348299"/>
                  <a:pt x="94315" y="351822"/>
                </a:cubicBezTo>
                <a:lnTo>
                  <a:pt x="94315" y="390609"/>
                </a:lnTo>
                <a:cubicBezTo>
                  <a:pt x="94315" y="394132"/>
                  <a:pt x="91437" y="397009"/>
                  <a:pt x="87914" y="397009"/>
                </a:cubicBezTo>
                <a:cubicBezTo>
                  <a:pt x="84392" y="397009"/>
                  <a:pt x="81514" y="394132"/>
                  <a:pt x="81514" y="390609"/>
                </a:cubicBezTo>
                <a:lnTo>
                  <a:pt x="81514" y="351822"/>
                </a:lnTo>
                <a:cubicBezTo>
                  <a:pt x="81514" y="348299"/>
                  <a:pt x="84392" y="345421"/>
                  <a:pt x="87914" y="345421"/>
                </a:cubicBezTo>
                <a:close/>
                <a:moveTo>
                  <a:pt x="243" y="345421"/>
                </a:moveTo>
                <a:cubicBezTo>
                  <a:pt x="3766" y="345421"/>
                  <a:pt x="6644" y="348299"/>
                  <a:pt x="6644" y="351822"/>
                </a:cubicBezTo>
                <a:lnTo>
                  <a:pt x="6644" y="377865"/>
                </a:lnTo>
                <a:lnTo>
                  <a:pt x="6035" y="376928"/>
                </a:lnTo>
                <a:cubicBezTo>
                  <a:pt x="2145" y="367362"/>
                  <a:pt x="0" y="356830"/>
                  <a:pt x="0" y="345752"/>
                </a:cubicBezTo>
                <a:lnTo>
                  <a:pt x="21" y="345643"/>
                </a:lnTo>
                <a:close/>
                <a:moveTo>
                  <a:pt x="672932" y="345007"/>
                </a:moveTo>
                <a:cubicBezTo>
                  <a:pt x="678151" y="345437"/>
                  <a:pt x="682704" y="347714"/>
                  <a:pt x="685953" y="351091"/>
                </a:cubicBezTo>
                <a:lnTo>
                  <a:pt x="689291" y="359249"/>
                </a:lnTo>
                <a:lnTo>
                  <a:pt x="685814" y="376928"/>
                </a:lnTo>
                <a:lnTo>
                  <a:pt x="672785" y="396708"/>
                </a:lnTo>
                <a:lnTo>
                  <a:pt x="660250" y="391618"/>
                </a:lnTo>
                <a:cubicBezTo>
                  <a:pt x="656878" y="388423"/>
                  <a:pt x="654612" y="383988"/>
                  <a:pt x="654204" y="379027"/>
                </a:cubicBezTo>
                <a:lnTo>
                  <a:pt x="654161" y="363778"/>
                </a:lnTo>
                <a:cubicBezTo>
                  <a:pt x="654161" y="353598"/>
                  <a:pt x="662752" y="345007"/>
                  <a:pt x="672932" y="345007"/>
                </a:cubicBezTo>
                <a:close/>
                <a:moveTo>
                  <a:pt x="578702" y="345007"/>
                </a:moveTo>
                <a:cubicBezTo>
                  <a:pt x="589139" y="345867"/>
                  <a:pt x="596915" y="354114"/>
                  <a:pt x="596915" y="363778"/>
                </a:cubicBezTo>
                <a:lnTo>
                  <a:pt x="596915" y="378555"/>
                </a:lnTo>
                <a:cubicBezTo>
                  <a:pt x="596915" y="388606"/>
                  <a:pt x="588753" y="396767"/>
                  <a:pt x="578702" y="396767"/>
                </a:cubicBezTo>
                <a:cubicBezTo>
                  <a:pt x="569037" y="396767"/>
                  <a:pt x="560789" y="388950"/>
                  <a:pt x="559974" y="379027"/>
                </a:cubicBezTo>
                <a:lnTo>
                  <a:pt x="559931" y="363778"/>
                </a:lnTo>
                <a:cubicBezTo>
                  <a:pt x="559931" y="353598"/>
                  <a:pt x="568522" y="345007"/>
                  <a:pt x="578702" y="345007"/>
                </a:cubicBezTo>
                <a:close/>
                <a:moveTo>
                  <a:pt x="491033" y="345007"/>
                </a:moveTo>
                <a:cubicBezTo>
                  <a:pt x="501472" y="345867"/>
                  <a:pt x="509246" y="354114"/>
                  <a:pt x="509246" y="363778"/>
                </a:cubicBezTo>
                <a:lnTo>
                  <a:pt x="509246" y="378555"/>
                </a:lnTo>
                <a:cubicBezTo>
                  <a:pt x="509246" y="388606"/>
                  <a:pt x="501085" y="396767"/>
                  <a:pt x="491033" y="396767"/>
                </a:cubicBezTo>
                <a:cubicBezTo>
                  <a:pt x="481368" y="396767"/>
                  <a:pt x="473122" y="388950"/>
                  <a:pt x="472305" y="379027"/>
                </a:cubicBezTo>
                <a:lnTo>
                  <a:pt x="472262" y="363778"/>
                </a:lnTo>
                <a:cubicBezTo>
                  <a:pt x="472262" y="353598"/>
                  <a:pt x="480853" y="345007"/>
                  <a:pt x="491033" y="345007"/>
                </a:cubicBezTo>
                <a:close/>
                <a:moveTo>
                  <a:pt x="403363" y="345007"/>
                </a:moveTo>
                <a:cubicBezTo>
                  <a:pt x="413801" y="345867"/>
                  <a:pt x="421576" y="354114"/>
                  <a:pt x="421576" y="363778"/>
                </a:cubicBezTo>
                <a:lnTo>
                  <a:pt x="421576" y="378555"/>
                </a:lnTo>
                <a:cubicBezTo>
                  <a:pt x="421576" y="388606"/>
                  <a:pt x="413414" y="396767"/>
                  <a:pt x="403363" y="396767"/>
                </a:cubicBezTo>
                <a:cubicBezTo>
                  <a:pt x="393699" y="396767"/>
                  <a:pt x="385452" y="388950"/>
                  <a:pt x="384635" y="379027"/>
                </a:cubicBezTo>
                <a:lnTo>
                  <a:pt x="384592" y="363778"/>
                </a:lnTo>
                <a:cubicBezTo>
                  <a:pt x="384592" y="353598"/>
                  <a:pt x="393183" y="345007"/>
                  <a:pt x="403363" y="345007"/>
                </a:cubicBezTo>
                <a:close/>
                <a:moveTo>
                  <a:pt x="622258" y="344788"/>
                </a:moveTo>
                <a:cubicBezTo>
                  <a:pt x="625781" y="344788"/>
                  <a:pt x="628659" y="347666"/>
                  <a:pt x="628659" y="351189"/>
                </a:cubicBezTo>
                <a:lnTo>
                  <a:pt x="628659" y="389976"/>
                </a:lnTo>
                <a:cubicBezTo>
                  <a:pt x="628659" y="393499"/>
                  <a:pt x="625781" y="396376"/>
                  <a:pt x="622258" y="396376"/>
                </a:cubicBezTo>
                <a:cubicBezTo>
                  <a:pt x="618737" y="396376"/>
                  <a:pt x="615858" y="393499"/>
                  <a:pt x="615858" y="389976"/>
                </a:cubicBezTo>
                <a:lnTo>
                  <a:pt x="615858" y="351189"/>
                </a:lnTo>
                <a:cubicBezTo>
                  <a:pt x="615858" y="347666"/>
                  <a:pt x="618737" y="344788"/>
                  <a:pt x="622258" y="344788"/>
                </a:cubicBezTo>
                <a:close/>
                <a:moveTo>
                  <a:pt x="534587" y="344788"/>
                </a:moveTo>
                <a:cubicBezTo>
                  <a:pt x="538110" y="344788"/>
                  <a:pt x="540988" y="347666"/>
                  <a:pt x="540988" y="351189"/>
                </a:cubicBezTo>
                <a:lnTo>
                  <a:pt x="540988" y="389976"/>
                </a:lnTo>
                <a:cubicBezTo>
                  <a:pt x="540988" y="393499"/>
                  <a:pt x="538110" y="396376"/>
                  <a:pt x="534587" y="396376"/>
                </a:cubicBezTo>
                <a:cubicBezTo>
                  <a:pt x="531065" y="396376"/>
                  <a:pt x="528187" y="393499"/>
                  <a:pt x="528187" y="389976"/>
                </a:cubicBezTo>
                <a:lnTo>
                  <a:pt x="528187" y="351189"/>
                </a:lnTo>
                <a:cubicBezTo>
                  <a:pt x="528187" y="347666"/>
                  <a:pt x="531065" y="344788"/>
                  <a:pt x="534587" y="344788"/>
                </a:cubicBezTo>
                <a:close/>
                <a:moveTo>
                  <a:pt x="446917" y="344788"/>
                </a:moveTo>
                <a:cubicBezTo>
                  <a:pt x="450439" y="344788"/>
                  <a:pt x="453317" y="347666"/>
                  <a:pt x="453317" y="351189"/>
                </a:cubicBezTo>
                <a:lnTo>
                  <a:pt x="453317" y="389976"/>
                </a:lnTo>
                <a:cubicBezTo>
                  <a:pt x="453317" y="393499"/>
                  <a:pt x="450439" y="396376"/>
                  <a:pt x="446917" y="396376"/>
                </a:cubicBezTo>
                <a:cubicBezTo>
                  <a:pt x="443395" y="396376"/>
                  <a:pt x="440517" y="393499"/>
                  <a:pt x="440517" y="389976"/>
                </a:cubicBezTo>
                <a:lnTo>
                  <a:pt x="440517" y="351189"/>
                </a:lnTo>
                <a:cubicBezTo>
                  <a:pt x="440517" y="347666"/>
                  <a:pt x="443395" y="344788"/>
                  <a:pt x="446917" y="344788"/>
                </a:cubicBezTo>
                <a:close/>
                <a:moveTo>
                  <a:pt x="6362" y="314325"/>
                </a:moveTo>
                <a:lnTo>
                  <a:pt x="5790" y="315682"/>
                </a:lnTo>
                <a:lnTo>
                  <a:pt x="5918" y="315015"/>
                </a:lnTo>
                <a:close/>
                <a:moveTo>
                  <a:pt x="345113" y="291947"/>
                </a:moveTo>
                <a:cubicBezTo>
                  <a:pt x="341419" y="291947"/>
                  <a:pt x="338283" y="295083"/>
                  <a:pt x="338283" y="298777"/>
                </a:cubicBezTo>
                <a:lnTo>
                  <a:pt x="338283" y="313553"/>
                </a:lnTo>
                <a:cubicBezTo>
                  <a:pt x="338283" y="317291"/>
                  <a:pt x="341548" y="320598"/>
                  <a:pt x="345585" y="320942"/>
                </a:cubicBezTo>
                <a:cubicBezTo>
                  <a:pt x="348593" y="320942"/>
                  <a:pt x="352501" y="317892"/>
                  <a:pt x="352501" y="313553"/>
                </a:cubicBezTo>
                <a:lnTo>
                  <a:pt x="352501" y="298777"/>
                </a:lnTo>
                <a:cubicBezTo>
                  <a:pt x="352201" y="295212"/>
                  <a:pt x="348850" y="291947"/>
                  <a:pt x="345113" y="291947"/>
                </a:cubicBezTo>
                <a:close/>
                <a:moveTo>
                  <a:pt x="257442" y="291947"/>
                </a:moveTo>
                <a:cubicBezTo>
                  <a:pt x="253748" y="291947"/>
                  <a:pt x="250612" y="295083"/>
                  <a:pt x="250612" y="298777"/>
                </a:cubicBezTo>
                <a:lnTo>
                  <a:pt x="250612" y="313553"/>
                </a:lnTo>
                <a:cubicBezTo>
                  <a:pt x="250612" y="317291"/>
                  <a:pt x="253877" y="320598"/>
                  <a:pt x="257915" y="320942"/>
                </a:cubicBezTo>
                <a:cubicBezTo>
                  <a:pt x="260922" y="320942"/>
                  <a:pt x="264831" y="317892"/>
                  <a:pt x="264831" y="313553"/>
                </a:cubicBezTo>
                <a:lnTo>
                  <a:pt x="264831" y="298777"/>
                </a:lnTo>
                <a:cubicBezTo>
                  <a:pt x="264530" y="295212"/>
                  <a:pt x="261179" y="291947"/>
                  <a:pt x="257442" y="291947"/>
                </a:cubicBezTo>
                <a:close/>
                <a:moveTo>
                  <a:pt x="169815" y="291947"/>
                </a:moveTo>
                <a:cubicBezTo>
                  <a:pt x="166121" y="291947"/>
                  <a:pt x="162985" y="295083"/>
                  <a:pt x="162985" y="298777"/>
                </a:cubicBezTo>
                <a:lnTo>
                  <a:pt x="162985" y="313553"/>
                </a:lnTo>
                <a:cubicBezTo>
                  <a:pt x="162985" y="317291"/>
                  <a:pt x="166250" y="320598"/>
                  <a:pt x="170288" y="320942"/>
                </a:cubicBezTo>
                <a:cubicBezTo>
                  <a:pt x="173294" y="320942"/>
                  <a:pt x="177202" y="317892"/>
                  <a:pt x="177202" y="313553"/>
                </a:cubicBezTo>
                <a:lnTo>
                  <a:pt x="177202" y="298777"/>
                </a:lnTo>
                <a:cubicBezTo>
                  <a:pt x="176902" y="295212"/>
                  <a:pt x="173552" y="291947"/>
                  <a:pt x="169815" y="291947"/>
                </a:cubicBezTo>
                <a:close/>
                <a:moveTo>
                  <a:pt x="75544" y="291947"/>
                </a:moveTo>
                <a:cubicBezTo>
                  <a:pt x="71850" y="291947"/>
                  <a:pt x="68714" y="295083"/>
                  <a:pt x="68714" y="298777"/>
                </a:cubicBezTo>
                <a:lnTo>
                  <a:pt x="68714" y="313553"/>
                </a:lnTo>
                <a:cubicBezTo>
                  <a:pt x="68714" y="317291"/>
                  <a:pt x="71979" y="320598"/>
                  <a:pt x="76017" y="320942"/>
                </a:cubicBezTo>
                <a:cubicBezTo>
                  <a:pt x="79024" y="320942"/>
                  <a:pt x="82932" y="317892"/>
                  <a:pt x="82932" y="313553"/>
                </a:cubicBezTo>
                <a:lnTo>
                  <a:pt x="82932" y="298777"/>
                </a:lnTo>
                <a:cubicBezTo>
                  <a:pt x="82633" y="295212"/>
                  <a:pt x="79282" y="291947"/>
                  <a:pt x="75544" y="291947"/>
                </a:cubicBezTo>
                <a:close/>
                <a:moveTo>
                  <a:pt x="609888" y="291315"/>
                </a:moveTo>
                <a:cubicBezTo>
                  <a:pt x="606195" y="291315"/>
                  <a:pt x="603059" y="294451"/>
                  <a:pt x="603059" y="298144"/>
                </a:cubicBezTo>
                <a:lnTo>
                  <a:pt x="603059" y="312921"/>
                </a:lnTo>
                <a:cubicBezTo>
                  <a:pt x="603059" y="316658"/>
                  <a:pt x="606323" y="319965"/>
                  <a:pt x="610361" y="320309"/>
                </a:cubicBezTo>
                <a:cubicBezTo>
                  <a:pt x="613368" y="320309"/>
                  <a:pt x="617277" y="317259"/>
                  <a:pt x="617277" y="312921"/>
                </a:cubicBezTo>
                <a:lnTo>
                  <a:pt x="617277" y="298144"/>
                </a:lnTo>
                <a:cubicBezTo>
                  <a:pt x="616976" y="294580"/>
                  <a:pt x="613625" y="291315"/>
                  <a:pt x="609888" y="291315"/>
                </a:cubicBezTo>
                <a:close/>
                <a:moveTo>
                  <a:pt x="522218" y="291315"/>
                </a:moveTo>
                <a:cubicBezTo>
                  <a:pt x="518523" y="291315"/>
                  <a:pt x="515387" y="294451"/>
                  <a:pt x="515387" y="298144"/>
                </a:cubicBezTo>
                <a:lnTo>
                  <a:pt x="515387" y="312921"/>
                </a:lnTo>
                <a:cubicBezTo>
                  <a:pt x="515387" y="316658"/>
                  <a:pt x="518652" y="319965"/>
                  <a:pt x="522690" y="320309"/>
                </a:cubicBezTo>
                <a:cubicBezTo>
                  <a:pt x="525697" y="320309"/>
                  <a:pt x="529606" y="317259"/>
                  <a:pt x="529606" y="312921"/>
                </a:cubicBezTo>
                <a:lnTo>
                  <a:pt x="529606" y="298144"/>
                </a:lnTo>
                <a:cubicBezTo>
                  <a:pt x="529306" y="294580"/>
                  <a:pt x="525955" y="291315"/>
                  <a:pt x="522218" y="291315"/>
                </a:cubicBezTo>
                <a:close/>
                <a:moveTo>
                  <a:pt x="434591" y="291315"/>
                </a:moveTo>
                <a:cubicBezTo>
                  <a:pt x="430896" y="291315"/>
                  <a:pt x="427761" y="294451"/>
                  <a:pt x="427761" y="298144"/>
                </a:cubicBezTo>
                <a:lnTo>
                  <a:pt x="427761" y="312921"/>
                </a:lnTo>
                <a:cubicBezTo>
                  <a:pt x="427761" y="316658"/>
                  <a:pt x="431025" y="319965"/>
                  <a:pt x="435062" y="320309"/>
                </a:cubicBezTo>
                <a:cubicBezTo>
                  <a:pt x="438069" y="320309"/>
                  <a:pt x="441978" y="317259"/>
                  <a:pt x="441978" y="312921"/>
                </a:cubicBezTo>
                <a:lnTo>
                  <a:pt x="441978" y="298144"/>
                </a:lnTo>
                <a:cubicBezTo>
                  <a:pt x="441678" y="294580"/>
                  <a:pt x="438327" y="291315"/>
                  <a:pt x="434591" y="291315"/>
                </a:cubicBezTo>
                <a:close/>
                <a:moveTo>
                  <a:pt x="658782" y="282090"/>
                </a:moveTo>
                <a:lnTo>
                  <a:pt x="667001" y="287751"/>
                </a:lnTo>
                <a:lnTo>
                  <a:pt x="667001" y="325458"/>
                </a:lnTo>
                <a:cubicBezTo>
                  <a:pt x="667001" y="329024"/>
                  <a:pt x="664123" y="331902"/>
                  <a:pt x="660602" y="331902"/>
                </a:cubicBezTo>
                <a:cubicBezTo>
                  <a:pt x="657079" y="331902"/>
                  <a:pt x="654201" y="329024"/>
                  <a:pt x="654201" y="325501"/>
                </a:cubicBezTo>
                <a:lnTo>
                  <a:pt x="654201" y="286671"/>
                </a:lnTo>
                <a:close/>
                <a:moveTo>
                  <a:pt x="33094" y="282011"/>
                </a:moveTo>
                <a:lnTo>
                  <a:pt x="38387" y="287304"/>
                </a:lnTo>
                <a:lnTo>
                  <a:pt x="38387" y="326091"/>
                </a:lnTo>
                <a:cubicBezTo>
                  <a:pt x="38430" y="329657"/>
                  <a:pt x="35552" y="332535"/>
                  <a:pt x="31987" y="332535"/>
                </a:cubicBezTo>
                <a:cubicBezTo>
                  <a:pt x="28464" y="332535"/>
                  <a:pt x="25587" y="329657"/>
                  <a:pt x="25587" y="326134"/>
                </a:cubicBezTo>
                <a:lnTo>
                  <a:pt x="25587" y="287380"/>
                </a:lnTo>
                <a:close/>
                <a:moveTo>
                  <a:pt x="301556" y="280904"/>
                </a:moveTo>
                <a:cubicBezTo>
                  <a:pt x="305078" y="280904"/>
                  <a:pt x="307956" y="283782"/>
                  <a:pt x="307956" y="287304"/>
                </a:cubicBezTo>
                <a:lnTo>
                  <a:pt x="307956" y="326091"/>
                </a:lnTo>
                <a:cubicBezTo>
                  <a:pt x="307999" y="329657"/>
                  <a:pt x="305121" y="332535"/>
                  <a:pt x="301556" y="332535"/>
                </a:cubicBezTo>
                <a:cubicBezTo>
                  <a:pt x="298033" y="332535"/>
                  <a:pt x="295156" y="329657"/>
                  <a:pt x="295156" y="326134"/>
                </a:cubicBezTo>
                <a:lnTo>
                  <a:pt x="295156" y="287304"/>
                </a:lnTo>
                <a:cubicBezTo>
                  <a:pt x="295156" y="283782"/>
                  <a:pt x="298033" y="280904"/>
                  <a:pt x="301556" y="280904"/>
                </a:cubicBezTo>
                <a:close/>
                <a:moveTo>
                  <a:pt x="213927" y="280904"/>
                </a:moveTo>
                <a:cubicBezTo>
                  <a:pt x="217449" y="280904"/>
                  <a:pt x="220327" y="283782"/>
                  <a:pt x="220327" y="287304"/>
                </a:cubicBezTo>
                <a:lnTo>
                  <a:pt x="220327" y="326091"/>
                </a:lnTo>
                <a:cubicBezTo>
                  <a:pt x="220327" y="329657"/>
                  <a:pt x="217449" y="332535"/>
                  <a:pt x="213927" y="332535"/>
                </a:cubicBezTo>
                <a:cubicBezTo>
                  <a:pt x="210405" y="332535"/>
                  <a:pt x="207527" y="329657"/>
                  <a:pt x="207527" y="326134"/>
                </a:cubicBezTo>
                <a:lnTo>
                  <a:pt x="207527" y="287304"/>
                </a:lnTo>
                <a:cubicBezTo>
                  <a:pt x="207527" y="283782"/>
                  <a:pt x="210405" y="280904"/>
                  <a:pt x="213927" y="280904"/>
                </a:cubicBezTo>
                <a:close/>
                <a:moveTo>
                  <a:pt x="126257" y="280904"/>
                </a:moveTo>
                <a:cubicBezTo>
                  <a:pt x="129779" y="280904"/>
                  <a:pt x="132657" y="283782"/>
                  <a:pt x="132657" y="287304"/>
                </a:cubicBezTo>
                <a:lnTo>
                  <a:pt x="132657" y="326091"/>
                </a:lnTo>
                <a:cubicBezTo>
                  <a:pt x="132657" y="329657"/>
                  <a:pt x="129779" y="332535"/>
                  <a:pt x="126257" y="332535"/>
                </a:cubicBezTo>
                <a:cubicBezTo>
                  <a:pt x="122735" y="332535"/>
                  <a:pt x="119857" y="329657"/>
                  <a:pt x="119857" y="326134"/>
                </a:cubicBezTo>
                <a:lnTo>
                  <a:pt x="119857" y="287304"/>
                </a:lnTo>
                <a:cubicBezTo>
                  <a:pt x="119814" y="283782"/>
                  <a:pt x="122692" y="280904"/>
                  <a:pt x="126257" y="280904"/>
                </a:cubicBezTo>
                <a:close/>
                <a:moveTo>
                  <a:pt x="345157" y="280565"/>
                </a:moveTo>
                <a:cubicBezTo>
                  <a:pt x="354820" y="280565"/>
                  <a:pt x="363068" y="288382"/>
                  <a:pt x="363885" y="298305"/>
                </a:cubicBezTo>
                <a:lnTo>
                  <a:pt x="363928" y="313553"/>
                </a:lnTo>
                <a:cubicBezTo>
                  <a:pt x="363928" y="323734"/>
                  <a:pt x="355336" y="332324"/>
                  <a:pt x="345157" y="332324"/>
                </a:cubicBezTo>
                <a:cubicBezTo>
                  <a:pt x="334718" y="331465"/>
                  <a:pt x="326944" y="323218"/>
                  <a:pt x="326944" y="313553"/>
                </a:cubicBezTo>
                <a:lnTo>
                  <a:pt x="326944" y="298777"/>
                </a:lnTo>
                <a:cubicBezTo>
                  <a:pt x="326944" y="288726"/>
                  <a:pt x="335105" y="280565"/>
                  <a:pt x="345157" y="280565"/>
                </a:cubicBezTo>
                <a:close/>
                <a:moveTo>
                  <a:pt x="257485" y="280565"/>
                </a:moveTo>
                <a:cubicBezTo>
                  <a:pt x="267150" y="280565"/>
                  <a:pt x="275397" y="288382"/>
                  <a:pt x="276213" y="298305"/>
                </a:cubicBezTo>
                <a:lnTo>
                  <a:pt x="276256" y="313553"/>
                </a:lnTo>
                <a:cubicBezTo>
                  <a:pt x="276256" y="323734"/>
                  <a:pt x="267666" y="332324"/>
                  <a:pt x="257485" y="332324"/>
                </a:cubicBezTo>
                <a:cubicBezTo>
                  <a:pt x="247048" y="331465"/>
                  <a:pt x="239273" y="323218"/>
                  <a:pt x="239273" y="313553"/>
                </a:cubicBezTo>
                <a:lnTo>
                  <a:pt x="239273" y="298777"/>
                </a:lnTo>
                <a:cubicBezTo>
                  <a:pt x="239273" y="288726"/>
                  <a:pt x="247434" y="280565"/>
                  <a:pt x="257485" y="280565"/>
                </a:cubicBezTo>
                <a:close/>
                <a:moveTo>
                  <a:pt x="169815" y="280565"/>
                </a:moveTo>
                <a:cubicBezTo>
                  <a:pt x="179481" y="280565"/>
                  <a:pt x="187727" y="288382"/>
                  <a:pt x="188544" y="298305"/>
                </a:cubicBezTo>
                <a:lnTo>
                  <a:pt x="188586" y="313553"/>
                </a:lnTo>
                <a:cubicBezTo>
                  <a:pt x="188586" y="323734"/>
                  <a:pt x="179995" y="332324"/>
                  <a:pt x="169815" y="332324"/>
                </a:cubicBezTo>
                <a:cubicBezTo>
                  <a:pt x="159377" y="331465"/>
                  <a:pt x="151603" y="323218"/>
                  <a:pt x="151603" y="313553"/>
                </a:cubicBezTo>
                <a:lnTo>
                  <a:pt x="151603" y="298777"/>
                </a:lnTo>
                <a:cubicBezTo>
                  <a:pt x="151603" y="288726"/>
                  <a:pt x="159764" y="280565"/>
                  <a:pt x="169815" y="280565"/>
                </a:cubicBezTo>
                <a:close/>
                <a:moveTo>
                  <a:pt x="75588" y="280565"/>
                </a:moveTo>
                <a:cubicBezTo>
                  <a:pt x="85252" y="280565"/>
                  <a:pt x="93499" y="288382"/>
                  <a:pt x="94316" y="298305"/>
                </a:cubicBezTo>
                <a:lnTo>
                  <a:pt x="94359" y="313553"/>
                </a:lnTo>
                <a:cubicBezTo>
                  <a:pt x="94359" y="323734"/>
                  <a:pt x="85767" y="332324"/>
                  <a:pt x="75588" y="332324"/>
                </a:cubicBezTo>
                <a:cubicBezTo>
                  <a:pt x="65149" y="331465"/>
                  <a:pt x="57375" y="323218"/>
                  <a:pt x="57375" y="313553"/>
                </a:cubicBezTo>
                <a:lnTo>
                  <a:pt x="57375" y="298777"/>
                </a:lnTo>
                <a:cubicBezTo>
                  <a:pt x="57375" y="288726"/>
                  <a:pt x="65536" y="280565"/>
                  <a:pt x="75588" y="280565"/>
                </a:cubicBezTo>
                <a:close/>
                <a:moveTo>
                  <a:pt x="566331" y="280271"/>
                </a:moveTo>
                <a:cubicBezTo>
                  <a:pt x="569853" y="280271"/>
                  <a:pt x="572730" y="283149"/>
                  <a:pt x="572730" y="286671"/>
                </a:cubicBezTo>
                <a:lnTo>
                  <a:pt x="572730" y="325458"/>
                </a:lnTo>
                <a:cubicBezTo>
                  <a:pt x="572774" y="329024"/>
                  <a:pt x="569895" y="331902"/>
                  <a:pt x="566331" y="331902"/>
                </a:cubicBezTo>
                <a:cubicBezTo>
                  <a:pt x="562809" y="331902"/>
                  <a:pt x="559931" y="329024"/>
                  <a:pt x="559931" y="325501"/>
                </a:cubicBezTo>
                <a:lnTo>
                  <a:pt x="559931" y="286671"/>
                </a:lnTo>
                <a:cubicBezTo>
                  <a:pt x="559931" y="283149"/>
                  <a:pt x="562809" y="280271"/>
                  <a:pt x="566331" y="280271"/>
                </a:cubicBezTo>
                <a:close/>
                <a:moveTo>
                  <a:pt x="478702" y="280271"/>
                </a:moveTo>
                <a:cubicBezTo>
                  <a:pt x="482225" y="280271"/>
                  <a:pt x="485103" y="283149"/>
                  <a:pt x="485103" y="286671"/>
                </a:cubicBezTo>
                <a:lnTo>
                  <a:pt x="485103" y="325458"/>
                </a:lnTo>
                <a:cubicBezTo>
                  <a:pt x="485103" y="329024"/>
                  <a:pt x="482225" y="331902"/>
                  <a:pt x="478702" y="331902"/>
                </a:cubicBezTo>
                <a:cubicBezTo>
                  <a:pt x="475180" y="331902"/>
                  <a:pt x="472302" y="329024"/>
                  <a:pt x="472302" y="325501"/>
                </a:cubicBezTo>
                <a:lnTo>
                  <a:pt x="472302" y="286671"/>
                </a:lnTo>
                <a:cubicBezTo>
                  <a:pt x="472302" y="283149"/>
                  <a:pt x="475180" y="280271"/>
                  <a:pt x="478702" y="280271"/>
                </a:cubicBezTo>
                <a:close/>
                <a:moveTo>
                  <a:pt x="391033" y="280271"/>
                </a:moveTo>
                <a:cubicBezTo>
                  <a:pt x="394555" y="280271"/>
                  <a:pt x="397433" y="283149"/>
                  <a:pt x="397433" y="286671"/>
                </a:cubicBezTo>
                <a:lnTo>
                  <a:pt x="397433" y="325458"/>
                </a:lnTo>
                <a:cubicBezTo>
                  <a:pt x="397433" y="329024"/>
                  <a:pt x="394555" y="331902"/>
                  <a:pt x="391033" y="331902"/>
                </a:cubicBezTo>
                <a:cubicBezTo>
                  <a:pt x="387510" y="331902"/>
                  <a:pt x="384632" y="329024"/>
                  <a:pt x="384632" y="325501"/>
                </a:cubicBezTo>
                <a:lnTo>
                  <a:pt x="384632" y="286671"/>
                </a:lnTo>
                <a:cubicBezTo>
                  <a:pt x="384589" y="283149"/>
                  <a:pt x="387467" y="280271"/>
                  <a:pt x="391033" y="280271"/>
                </a:cubicBezTo>
                <a:close/>
                <a:moveTo>
                  <a:pt x="609931" y="279932"/>
                </a:moveTo>
                <a:cubicBezTo>
                  <a:pt x="619596" y="279932"/>
                  <a:pt x="627844" y="287750"/>
                  <a:pt x="628659" y="297673"/>
                </a:cubicBezTo>
                <a:lnTo>
                  <a:pt x="628702" y="312921"/>
                </a:lnTo>
                <a:cubicBezTo>
                  <a:pt x="628702" y="323101"/>
                  <a:pt x="620112" y="331691"/>
                  <a:pt x="609931" y="331691"/>
                </a:cubicBezTo>
                <a:cubicBezTo>
                  <a:pt x="599494" y="330833"/>
                  <a:pt x="591719" y="322585"/>
                  <a:pt x="591719" y="312921"/>
                </a:cubicBezTo>
                <a:lnTo>
                  <a:pt x="591719" y="298144"/>
                </a:lnTo>
                <a:cubicBezTo>
                  <a:pt x="591719" y="288094"/>
                  <a:pt x="599881" y="279932"/>
                  <a:pt x="609931" y="279932"/>
                </a:cubicBezTo>
                <a:close/>
                <a:moveTo>
                  <a:pt x="522261" y="279932"/>
                </a:moveTo>
                <a:cubicBezTo>
                  <a:pt x="531925" y="279932"/>
                  <a:pt x="540173" y="287750"/>
                  <a:pt x="540989" y="297673"/>
                </a:cubicBezTo>
                <a:lnTo>
                  <a:pt x="541032" y="312921"/>
                </a:lnTo>
                <a:cubicBezTo>
                  <a:pt x="541032" y="323101"/>
                  <a:pt x="532441" y="331691"/>
                  <a:pt x="522261" y="331691"/>
                </a:cubicBezTo>
                <a:cubicBezTo>
                  <a:pt x="511822" y="330833"/>
                  <a:pt x="504048" y="322585"/>
                  <a:pt x="504048" y="312921"/>
                </a:cubicBezTo>
                <a:lnTo>
                  <a:pt x="504048" y="298144"/>
                </a:lnTo>
                <a:cubicBezTo>
                  <a:pt x="504048" y="288094"/>
                  <a:pt x="512209" y="279932"/>
                  <a:pt x="522261" y="279932"/>
                </a:cubicBezTo>
                <a:close/>
                <a:moveTo>
                  <a:pt x="434591" y="279932"/>
                </a:moveTo>
                <a:cubicBezTo>
                  <a:pt x="444255" y="279932"/>
                  <a:pt x="452503" y="287750"/>
                  <a:pt x="453318" y="297673"/>
                </a:cubicBezTo>
                <a:lnTo>
                  <a:pt x="453361" y="312921"/>
                </a:lnTo>
                <a:cubicBezTo>
                  <a:pt x="453361" y="323101"/>
                  <a:pt x="444770" y="331691"/>
                  <a:pt x="434591" y="331691"/>
                </a:cubicBezTo>
                <a:cubicBezTo>
                  <a:pt x="424153" y="330833"/>
                  <a:pt x="416377" y="322585"/>
                  <a:pt x="416377" y="312921"/>
                </a:cubicBezTo>
                <a:lnTo>
                  <a:pt x="416377" y="298144"/>
                </a:lnTo>
                <a:cubicBezTo>
                  <a:pt x="416377" y="288094"/>
                  <a:pt x="424539" y="279932"/>
                  <a:pt x="434591" y="279932"/>
                </a:cubicBezTo>
                <a:close/>
                <a:moveTo>
                  <a:pt x="210384" y="236381"/>
                </a:moveTo>
                <a:lnTo>
                  <a:pt x="203870" y="242894"/>
                </a:lnTo>
                <a:lnTo>
                  <a:pt x="203870" y="257670"/>
                </a:lnTo>
                <a:lnTo>
                  <a:pt x="211111" y="264996"/>
                </a:lnTo>
                <a:lnTo>
                  <a:pt x="217717" y="257936"/>
                </a:lnTo>
                <a:lnTo>
                  <a:pt x="217717" y="243160"/>
                </a:lnTo>
                <a:close/>
                <a:moveTo>
                  <a:pt x="122714" y="236381"/>
                </a:moveTo>
                <a:lnTo>
                  <a:pt x="116200" y="242894"/>
                </a:lnTo>
                <a:lnTo>
                  <a:pt x="116200" y="257670"/>
                </a:lnTo>
                <a:lnTo>
                  <a:pt x="123440" y="264996"/>
                </a:lnTo>
                <a:lnTo>
                  <a:pt x="130047" y="257936"/>
                </a:lnTo>
                <a:lnTo>
                  <a:pt x="130047" y="243160"/>
                </a:lnTo>
                <a:close/>
                <a:moveTo>
                  <a:pt x="480270" y="236064"/>
                </a:moveTo>
                <a:cubicBezTo>
                  <a:pt x="476576" y="236064"/>
                  <a:pt x="473440" y="239199"/>
                  <a:pt x="473440" y="242894"/>
                </a:cubicBezTo>
                <a:lnTo>
                  <a:pt x="473440" y="257670"/>
                </a:lnTo>
                <a:cubicBezTo>
                  <a:pt x="473440" y="261407"/>
                  <a:pt x="476704" y="264715"/>
                  <a:pt x="480743" y="265059"/>
                </a:cubicBezTo>
                <a:cubicBezTo>
                  <a:pt x="483750" y="265059"/>
                  <a:pt x="487659" y="262009"/>
                  <a:pt x="487659" y="257670"/>
                </a:cubicBezTo>
                <a:lnTo>
                  <a:pt x="487659" y="242894"/>
                </a:lnTo>
                <a:cubicBezTo>
                  <a:pt x="487358" y="239328"/>
                  <a:pt x="484007" y="236064"/>
                  <a:pt x="480270" y="236064"/>
                </a:cubicBezTo>
                <a:close/>
                <a:moveTo>
                  <a:pt x="392599" y="236064"/>
                </a:moveTo>
                <a:cubicBezTo>
                  <a:pt x="388905" y="236064"/>
                  <a:pt x="385769" y="239199"/>
                  <a:pt x="385769" y="242894"/>
                </a:cubicBezTo>
                <a:lnTo>
                  <a:pt x="385769" y="257670"/>
                </a:lnTo>
                <a:cubicBezTo>
                  <a:pt x="385769" y="261407"/>
                  <a:pt x="389034" y="264715"/>
                  <a:pt x="393071" y="265059"/>
                </a:cubicBezTo>
                <a:cubicBezTo>
                  <a:pt x="396079" y="265059"/>
                  <a:pt x="399987" y="262009"/>
                  <a:pt x="399987" y="257670"/>
                </a:cubicBezTo>
                <a:lnTo>
                  <a:pt x="399987" y="242894"/>
                </a:lnTo>
                <a:cubicBezTo>
                  <a:pt x="399687" y="239328"/>
                  <a:pt x="396336" y="236064"/>
                  <a:pt x="392599" y="236064"/>
                </a:cubicBezTo>
                <a:close/>
                <a:moveTo>
                  <a:pt x="304971" y="236064"/>
                </a:moveTo>
                <a:cubicBezTo>
                  <a:pt x="301277" y="236064"/>
                  <a:pt x="298141" y="239199"/>
                  <a:pt x="298141" y="242894"/>
                </a:cubicBezTo>
                <a:lnTo>
                  <a:pt x="298141" y="257670"/>
                </a:lnTo>
                <a:cubicBezTo>
                  <a:pt x="298141" y="261407"/>
                  <a:pt x="301406" y="264715"/>
                  <a:pt x="305444" y="265059"/>
                </a:cubicBezTo>
                <a:cubicBezTo>
                  <a:pt x="308450" y="265059"/>
                  <a:pt x="312359" y="262009"/>
                  <a:pt x="312359" y="257670"/>
                </a:cubicBezTo>
                <a:lnTo>
                  <a:pt x="312359" y="242894"/>
                </a:lnTo>
                <a:cubicBezTo>
                  <a:pt x="312059" y="239328"/>
                  <a:pt x="308708" y="236064"/>
                  <a:pt x="304971" y="236064"/>
                </a:cubicBezTo>
                <a:close/>
                <a:moveTo>
                  <a:pt x="569375" y="235698"/>
                </a:moveTo>
                <a:cubicBezTo>
                  <a:pt x="565681" y="235698"/>
                  <a:pt x="562546" y="238834"/>
                  <a:pt x="562546" y="242528"/>
                </a:cubicBezTo>
                <a:lnTo>
                  <a:pt x="562546" y="257304"/>
                </a:lnTo>
                <a:cubicBezTo>
                  <a:pt x="562546" y="261042"/>
                  <a:pt x="565810" y="264349"/>
                  <a:pt x="569847" y="264693"/>
                </a:cubicBezTo>
                <a:cubicBezTo>
                  <a:pt x="572854" y="264693"/>
                  <a:pt x="576763" y="261643"/>
                  <a:pt x="576763" y="257304"/>
                </a:cubicBezTo>
                <a:lnTo>
                  <a:pt x="576763" y="242528"/>
                </a:lnTo>
                <a:cubicBezTo>
                  <a:pt x="576463" y="238963"/>
                  <a:pt x="573112" y="235698"/>
                  <a:pt x="569375" y="235698"/>
                </a:cubicBezTo>
                <a:close/>
                <a:moveTo>
                  <a:pt x="436712" y="225060"/>
                </a:moveTo>
                <a:cubicBezTo>
                  <a:pt x="440234" y="225060"/>
                  <a:pt x="443112" y="227938"/>
                  <a:pt x="443112" y="231461"/>
                </a:cubicBezTo>
                <a:lnTo>
                  <a:pt x="443112" y="270248"/>
                </a:lnTo>
                <a:cubicBezTo>
                  <a:pt x="443156" y="273770"/>
                  <a:pt x="440277" y="276648"/>
                  <a:pt x="436712" y="276648"/>
                </a:cubicBezTo>
                <a:cubicBezTo>
                  <a:pt x="433190" y="276648"/>
                  <a:pt x="430312" y="273770"/>
                  <a:pt x="430312" y="270248"/>
                </a:cubicBezTo>
                <a:lnTo>
                  <a:pt x="430312" y="231461"/>
                </a:lnTo>
                <a:cubicBezTo>
                  <a:pt x="430312" y="227938"/>
                  <a:pt x="433190" y="225060"/>
                  <a:pt x="436712" y="225060"/>
                </a:cubicBezTo>
                <a:close/>
                <a:moveTo>
                  <a:pt x="349084" y="225060"/>
                </a:moveTo>
                <a:cubicBezTo>
                  <a:pt x="352606" y="225060"/>
                  <a:pt x="355484" y="227938"/>
                  <a:pt x="355484" y="231461"/>
                </a:cubicBezTo>
                <a:lnTo>
                  <a:pt x="355484" y="270248"/>
                </a:lnTo>
                <a:cubicBezTo>
                  <a:pt x="355484" y="273770"/>
                  <a:pt x="352606" y="276648"/>
                  <a:pt x="349084" y="276648"/>
                </a:cubicBezTo>
                <a:cubicBezTo>
                  <a:pt x="345562" y="276648"/>
                  <a:pt x="342684" y="273770"/>
                  <a:pt x="342684" y="270248"/>
                </a:cubicBezTo>
                <a:lnTo>
                  <a:pt x="342684" y="231461"/>
                </a:lnTo>
                <a:cubicBezTo>
                  <a:pt x="342684" y="227938"/>
                  <a:pt x="345562" y="225060"/>
                  <a:pt x="349084" y="225060"/>
                </a:cubicBezTo>
                <a:close/>
                <a:moveTo>
                  <a:pt x="261415" y="225060"/>
                </a:moveTo>
                <a:cubicBezTo>
                  <a:pt x="264937" y="225060"/>
                  <a:pt x="267815" y="227938"/>
                  <a:pt x="267815" y="231461"/>
                </a:cubicBezTo>
                <a:lnTo>
                  <a:pt x="267815" y="270248"/>
                </a:lnTo>
                <a:cubicBezTo>
                  <a:pt x="267815" y="273770"/>
                  <a:pt x="264937" y="276648"/>
                  <a:pt x="261415" y="276648"/>
                </a:cubicBezTo>
                <a:cubicBezTo>
                  <a:pt x="257894" y="276648"/>
                  <a:pt x="255015" y="273770"/>
                  <a:pt x="255015" y="270248"/>
                </a:cubicBezTo>
                <a:lnTo>
                  <a:pt x="255015" y="231461"/>
                </a:lnTo>
                <a:cubicBezTo>
                  <a:pt x="255015" y="227938"/>
                  <a:pt x="257894" y="225060"/>
                  <a:pt x="261415" y="225060"/>
                </a:cubicBezTo>
                <a:close/>
                <a:moveTo>
                  <a:pt x="167143" y="225060"/>
                </a:moveTo>
                <a:cubicBezTo>
                  <a:pt x="170665" y="225060"/>
                  <a:pt x="173543" y="227938"/>
                  <a:pt x="173543" y="231461"/>
                </a:cubicBezTo>
                <a:lnTo>
                  <a:pt x="173543" y="270248"/>
                </a:lnTo>
                <a:cubicBezTo>
                  <a:pt x="173586" y="273770"/>
                  <a:pt x="170708" y="276648"/>
                  <a:pt x="167143" y="276648"/>
                </a:cubicBezTo>
                <a:lnTo>
                  <a:pt x="167090" y="276596"/>
                </a:lnTo>
                <a:lnTo>
                  <a:pt x="166772" y="276914"/>
                </a:lnTo>
                <a:cubicBezTo>
                  <a:pt x="163249" y="276914"/>
                  <a:pt x="160372" y="274037"/>
                  <a:pt x="160372" y="270514"/>
                </a:cubicBezTo>
                <a:lnTo>
                  <a:pt x="160372" y="231727"/>
                </a:lnTo>
                <a:cubicBezTo>
                  <a:pt x="160372" y="228204"/>
                  <a:pt x="163249" y="225326"/>
                  <a:pt x="166772" y="225326"/>
                </a:cubicBezTo>
                <a:lnTo>
                  <a:pt x="166824" y="225379"/>
                </a:lnTo>
                <a:close/>
                <a:moveTo>
                  <a:pt x="79515" y="225060"/>
                </a:moveTo>
                <a:cubicBezTo>
                  <a:pt x="83037" y="225060"/>
                  <a:pt x="85915" y="227938"/>
                  <a:pt x="85915" y="231461"/>
                </a:cubicBezTo>
                <a:lnTo>
                  <a:pt x="85915" y="270248"/>
                </a:lnTo>
                <a:cubicBezTo>
                  <a:pt x="85915" y="273770"/>
                  <a:pt x="83037" y="276648"/>
                  <a:pt x="79515" y="276648"/>
                </a:cubicBezTo>
                <a:lnTo>
                  <a:pt x="79462" y="276596"/>
                </a:lnTo>
                <a:lnTo>
                  <a:pt x="79143" y="276914"/>
                </a:lnTo>
                <a:cubicBezTo>
                  <a:pt x="75622" y="276914"/>
                  <a:pt x="72744" y="274037"/>
                  <a:pt x="72744" y="270514"/>
                </a:cubicBezTo>
                <a:lnTo>
                  <a:pt x="72744" y="266509"/>
                </a:lnTo>
                <a:lnTo>
                  <a:pt x="75497" y="265867"/>
                </a:lnTo>
                <a:lnTo>
                  <a:pt x="72744" y="244589"/>
                </a:lnTo>
                <a:lnTo>
                  <a:pt x="72744" y="231727"/>
                </a:lnTo>
                <a:cubicBezTo>
                  <a:pt x="72744" y="228204"/>
                  <a:pt x="75622" y="225326"/>
                  <a:pt x="79143" y="225326"/>
                </a:cubicBezTo>
                <a:lnTo>
                  <a:pt x="79196" y="225379"/>
                </a:lnTo>
                <a:close/>
                <a:moveTo>
                  <a:pt x="613487" y="224693"/>
                </a:moveTo>
                <a:lnTo>
                  <a:pt x="619351" y="230557"/>
                </a:lnTo>
                <a:lnTo>
                  <a:pt x="612706" y="265867"/>
                </a:lnTo>
                <a:cubicBezTo>
                  <a:pt x="612706" y="265867"/>
                  <a:pt x="612706" y="265867"/>
                  <a:pt x="613954" y="265867"/>
                </a:cubicBezTo>
                <a:lnTo>
                  <a:pt x="619888" y="267089"/>
                </a:lnTo>
                <a:lnTo>
                  <a:pt x="619888" y="269882"/>
                </a:lnTo>
                <a:cubicBezTo>
                  <a:pt x="619888" y="273405"/>
                  <a:pt x="617010" y="276282"/>
                  <a:pt x="613487" y="276282"/>
                </a:cubicBezTo>
                <a:cubicBezTo>
                  <a:pt x="609965" y="276282"/>
                  <a:pt x="607087" y="273405"/>
                  <a:pt x="607087" y="269882"/>
                </a:cubicBezTo>
                <a:lnTo>
                  <a:pt x="607087" y="231094"/>
                </a:lnTo>
                <a:cubicBezTo>
                  <a:pt x="607087" y="227572"/>
                  <a:pt x="609965" y="224693"/>
                  <a:pt x="613487" y="224693"/>
                </a:cubicBezTo>
                <a:close/>
                <a:moveTo>
                  <a:pt x="525820" y="224693"/>
                </a:moveTo>
                <a:cubicBezTo>
                  <a:pt x="529342" y="224693"/>
                  <a:pt x="532220" y="227572"/>
                  <a:pt x="532220" y="231094"/>
                </a:cubicBezTo>
                <a:lnTo>
                  <a:pt x="532220" y="269882"/>
                </a:lnTo>
                <a:cubicBezTo>
                  <a:pt x="532220" y="273405"/>
                  <a:pt x="529342" y="276282"/>
                  <a:pt x="525820" y="276282"/>
                </a:cubicBezTo>
                <a:cubicBezTo>
                  <a:pt x="522297" y="276282"/>
                  <a:pt x="519419" y="273405"/>
                  <a:pt x="519419" y="269882"/>
                </a:cubicBezTo>
                <a:lnTo>
                  <a:pt x="519419" y="231094"/>
                </a:lnTo>
                <a:cubicBezTo>
                  <a:pt x="519419" y="227572"/>
                  <a:pt x="522297" y="224693"/>
                  <a:pt x="525820" y="224693"/>
                </a:cubicBezTo>
                <a:close/>
                <a:moveTo>
                  <a:pt x="480313" y="224681"/>
                </a:moveTo>
                <a:cubicBezTo>
                  <a:pt x="489978" y="224681"/>
                  <a:pt x="498225" y="232499"/>
                  <a:pt x="499041" y="242421"/>
                </a:cubicBezTo>
                <a:lnTo>
                  <a:pt x="499084" y="257670"/>
                </a:lnTo>
                <a:cubicBezTo>
                  <a:pt x="499084" y="267851"/>
                  <a:pt x="490494" y="276441"/>
                  <a:pt x="480313" y="276441"/>
                </a:cubicBezTo>
                <a:cubicBezTo>
                  <a:pt x="469875" y="275582"/>
                  <a:pt x="462100" y="267335"/>
                  <a:pt x="462100" y="257670"/>
                </a:cubicBezTo>
                <a:lnTo>
                  <a:pt x="462100" y="242894"/>
                </a:lnTo>
                <a:cubicBezTo>
                  <a:pt x="462100" y="232842"/>
                  <a:pt x="470262" y="224681"/>
                  <a:pt x="480313" y="224681"/>
                </a:cubicBezTo>
                <a:close/>
                <a:moveTo>
                  <a:pt x="392643" y="224681"/>
                </a:moveTo>
                <a:cubicBezTo>
                  <a:pt x="402306" y="224681"/>
                  <a:pt x="410554" y="232499"/>
                  <a:pt x="411371" y="242421"/>
                </a:cubicBezTo>
                <a:lnTo>
                  <a:pt x="411414" y="257670"/>
                </a:lnTo>
                <a:cubicBezTo>
                  <a:pt x="411414" y="267851"/>
                  <a:pt x="402822" y="276441"/>
                  <a:pt x="392643" y="276441"/>
                </a:cubicBezTo>
                <a:cubicBezTo>
                  <a:pt x="382204" y="275582"/>
                  <a:pt x="374430" y="267335"/>
                  <a:pt x="374430" y="257670"/>
                </a:cubicBezTo>
                <a:lnTo>
                  <a:pt x="374430" y="242894"/>
                </a:lnTo>
                <a:cubicBezTo>
                  <a:pt x="374430" y="232842"/>
                  <a:pt x="382591" y="224681"/>
                  <a:pt x="392643" y="224681"/>
                </a:cubicBezTo>
                <a:close/>
                <a:moveTo>
                  <a:pt x="304971" y="224681"/>
                </a:moveTo>
                <a:cubicBezTo>
                  <a:pt x="314637" y="224681"/>
                  <a:pt x="322883" y="232499"/>
                  <a:pt x="323700" y="242421"/>
                </a:cubicBezTo>
                <a:lnTo>
                  <a:pt x="323742" y="257670"/>
                </a:lnTo>
                <a:cubicBezTo>
                  <a:pt x="323742" y="267851"/>
                  <a:pt x="315152" y="276441"/>
                  <a:pt x="304971" y="276441"/>
                </a:cubicBezTo>
                <a:cubicBezTo>
                  <a:pt x="294534" y="275582"/>
                  <a:pt x="286759" y="267335"/>
                  <a:pt x="286759" y="257670"/>
                </a:cubicBezTo>
                <a:lnTo>
                  <a:pt x="286759" y="242894"/>
                </a:lnTo>
                <a:cubicBezTo>
                  <a:pt x="286759" y="232842"/>
                  <a:pt x="294920" y="224681"/>
                  <a:pt x="304971" y="224681"/>
                </a:cubicBezTo>
                <a:close/>
                <a:moveTo>
                  <a:pt x="210744" y="224681"/>
                </a:moveTo>
                <a:cubicBezTo>
                  <a:pt x="220408" y="224681"/>
                  <a:pt x="228655" y="232499"/>
                  <a:pt x="229472" y="242421"/>
                </a:cubicBezTo>
                <a:lnTo>
                  <a:pt x="229515" y="257670"/>
                </a:lnTo>
                <a:cubicBezTo>
                  <a:pt x="229515" y="262760"/>
                  <a:pt x="227367" y="267453"/>
                  <a:pt x="223947" y="270873"/>
                </a:cubicBezTo>
                <a:lnTo>
                  <a:pt x="223632" y="271007"/>
                </a:lnTo>
                <a:lnTo>
                  <a:pt x="223576" y="271140"/>
                </a:lnTo>
                <a:cubicBezTo>
                  <a:pt x="220155" y="274560"/>
                  <a:pt x="215463" y="276708"/>
                  <a:pt x="210373" y="276708"/>
                </a:cubicBezTo>
                <a:cubicBezTo>
                  <a:pt x="199934" y="275849"/>
                  <a:pt x="192160" y="267601"/>
                  <a:pt x="192160" y="257936"/>
                </a:cubicBezTo>
                <a:lnTo>
                  <a:pt x="192160" y="243160"/>
                </a:lnTo>
                <a:cubicBezTo>
                  <a:pt x="192160" y="238135"/>
                  <a:pt x="194201" y="233581"/>
                  <a:pt x="197497" y="230285"/>
                </a:cubicBezTo>
                <a:lnTo>
                  <a:pt x="197812" y="230155"/>
                </a:lnTo>
                <a:lnTo>
                  <a:pt x="197869" y="230019"/>
                </a:lnTo>
                <a:cubicBezTo>
                  <a:pt x="201165" y="226722"/>
                  <a:pt x="205719" y="224681"/>
                  <a:pt x="210744" y="224681"/>
                </a:cubicBezTo>
                <a:close/>
                <a:moveTo>
                  <a:pt x="123073" y="224681"/>
                </a:moveTo>
                <a:cubicBezTo>
                  <a:pt x="132738" y="224681"/>
                  <a:pt x="140985" y="232499"/>
                  <a:pt x="141801" y="242421"/>
                </a:cubicBezTo>
                <a:lnTo>
                  <a:pt x="141844" y="257670"/>
                </a:lnTo>
                <a:cubicBezTo>
                  <a:pt x="141844" y="262760"/>
                  <a:pt x="139696" y="267453"/>
                  <a:pt x="136276" y="270873"/>
                </a:cubicBezTo>
                <a:lnTo>
                  <a:pt x="135961" y="271007"/>
                </a:lnTo>
                <a:lnTo>
                  <a:pt x="135904" y="271140"/>
                </a:lnTo>
                <a:cubicBezTo>
                  <a:pt x="132485" y="274560"/>
                  <a:pt x="127792" y="276708"/>
                  <a:pt x="122701" y="276708"/>
                </a:cubicBezTo>
                <a:cubicBezTo>
                  <a:pt x="112264" y="275849"/>
                  <a:pt x="104489" y="267601"/>
                  <a:pt x="104489" y="257936"/>
                </a:cubicBezTo>
                <a:lnTo>
                  <a:pt x="104489" y="243160"/>
                </a:lnTo>
                <a:cubicBezTo>
                  <a:pt x="104489" y="238135"/>
                  <a:pt x="106529" y="233581"/>
                  <a:pt x="109826" y="230285"/>
                </a:cubicBezTo>
                <a:lnTo>
                  <a:pt x="110141" y="230155"/>
                </a:lnTo>
                <a:lnTo>
                  <a:pt x="110197" y="230019"/>
                </a:lnTo>
                <a:cubicBezTo>
                  <a:pt x="113494" y="226722"/>
                  <a:pt x="118047" y="224681"/>
                  <a:pt x="123073" y="224681"/>
                </a:cubicBezTo>
                <a:close/>
                <a:moveTo>
                  <a:pt x="569375" y="224316"/>
                </a:moveTo>
                <a:cubicBezTo>
                  <a:pt x="579040" y="224316"/>
                  <a:pt x="587288" y="232133"/>
                  <a:pt x="588103" y="242056"/>
                </a:cubicBezTo>
                <a:lnTo>
                  <a:pt x="588146" y="257304"/>
                </a:lnTo>
                <a:cubicBezTo>
                  <a:pt x="588146" y="267485"/>
                  <a:pt x="579555" y="276076"/>
                  <a:pt x="569375" y="276076"/>
                </a:cubicBezTo>
                <a:cubicBezTo>
                  <a:pt x="558938" y="275216"/>
                  <a:pt x="551162" y="266969"/>
                  <a:pt x="551162" y="257304"/>
                </a:cubicBezTo>
                <a:lnTo>
                  <a:pt x="551162" y="242528"/>
                </a:lnTo>
                <a:cubicBezTo>
                  <a:pt x="551162" y="232477"/>
                  <a:pt x="559324" y="224316"/>
                  <a:pt x="569375" y="224316"/>
                </a:cubicBezTo>
                <a:close/>
                <a:moveTo>
                  <a:pt x="178732" y="172594"/>
                </a:moveTo>
                <a:lnTo>
                  <a:pt x="172126" y="179652"/>
                </a:lnTo>
                <a:lnTo>
                  <a:pt x="172126" y="194429"/>
                </a:lnTo>
                <a:lnTo>
                  <a:pt x="179459" y="201207"/>
                </a:lnTo>
                <a:lnTo>
                  <a:pt x="185972" y="194695"/>
                </a:lnTo>
                <a:lnTo>
                  <a:pt x="185972" y="179919"/>
                </a:lnTo>
                <a:close/>
                <a:moveTo>
                  <a:pt x="91065" y="172594"/>
                </a:moveTo>
                <a:lnTo>
                  <a:pt x="84457" y="179652"/>
                </a:lnTo>
                <a:lnTo>
                  <a:pt x="84457" y="194429"/>
                </a:lnTo>
                <a:lnTo>
                  <a:pt x="91791" y="201207"/>
                </a:lnTo>
                <a:lnTo>
                  <a:pt x="98304" y="194695"/>
                </a:lnTo>
                <a:lnTo>
                  <a:pt x="98304" y="179919"/>
                </a:lnTo>
                <a:close/>
                <a:moveTo>
                  <a:pt x="448610" y="172264"/>
                </a:moveTo>
                <a:cubicBezTo>
                  <a:pt x="445603" y="172264"/>
                  <a:pt x="441695" y="175314"/>
                  <a:pt x="441695" y="179652"/>
                </a:cubicBezTo>
                <a:lnTo>
                  <a:pt x="441695" y="194429"/>
                </a:lnTo>
                <a:cubicBezTo>
                  <a:pt x="441996" y="197994"/>
                  <a:pt x="445345" y="201259"/>
                  <a:pt x="449083" y="201259"/>
                </a:cubicBezTo>
                <a:cubicBezTo>
                  <a:pt x="452777" y="201259"/>
                  <a:pt x="455913" y="198123"/>
                  <a:pt x="455913" y="194429"/>
                </a:cubicBezTo>
                <a:lnTo>
                  <a:pt x="455913" y="179652"/>
                </a:lnTo>
                <a:cubicBezTo>
                  <a:pt x="455913" y="175915"/>
                  <a:pt x="452648" y="172607"/>
                  <a:pt x="448610" y="172264"/>
                </a:cubicBezTo>
                <a:close/>
                <a:moveTo>
                  <a:pt x="360942" y="172264"/>
                </a:moveTo>
                <a:cubicBezTo>
                  <a:pt x="357935" y="172264"/>
                  <a:pt x="354026" y="175314"/>
                  <a:pt x="354026" y="179652"/>
                </a:cubicBezTo>
                <a:lnTo>
                  <a:pt x="354026" y="194429"/>
                </a:lnTo>
                <a:cubicBezTo>
                  <a:pt x="354328" y="197994"/>
                  <a:pt x="357678" y="201259"/>
                  <a:pt x="361415" y="201259"/>
                </a:cubicBezTo>
                <a:cubicBezTo>
                  <a:pt x="365109" y="201259"/>
                  <a:pt x="368245" y="198123"/>
                  <a:pt x="368245" y="194429"/>
                </a:cubicBezTo>
                <a:lnTo>
                  <a:pt x="368245" y="179652"/>
                </a:lnTo>
                <a:cubicBezTo>
                  <a:pt x="368245" y="175915"/>
                  <a:pt x="364980" y="172607"/>
                  <a:pt x="360942" y="172264"/>
                </a:cubicBezTo>
                <a:close/>
                <a:moveTo>
                  <a:pt x="273272" y="172264"/>
                </a:moveTo>
                <a:cubicBezTo>
                  <a:pt x="270265" y="172264"/>
                  <a:pt x="266356" y="175314"/>
                  <a:pt x="266356" y="179652"/>
                </a:cubicBezTo>
                <a:lnTo>
                  <a:pt x="266356" y="194429"/>
                </a:lnTo>
                <a:cubicBezTo>
                  <a:pt x="266657" y="197994"/>
                  <a:pt x="270008" y="201259"/>
                  <a:pt x="273744" y="201259"/>
                </a:cubicBezTo>
                <a:cubicBezTo>
                  <a:pt x="277438" y="201259"/>
                  <a:pt x="280574" y="198123"/>
                  <a:pt x="280574" y="194429"/>
                </a:cubicBezTo>
                <a:lnTo>
                  <a:pt x="280574" y="179652"/>
                </a:lnTo>
                <a:cubicBezTo>
                  <a:pt x="280574" y="175915"/>
                  <a:pt x="277309" y="172607"/>
                  <a:pt x="273272" y="172264"/>
                </a:cubicBezTo>
                <a:close/>
                <a:moveTo>
                  <a:pt x="537676" y="171898"/>
                </a:moveTo>
                <a:cubicBezTo>
                  <a:pt x="534669" y="171898"/>
                  <a:pt x="530760" y="174948"/>
                  <a:pt x="530760" y="179286"/>
                </a:cubicBezTo>
                <a:lnTo>
                  <a:pt x="530760" y="194062"/>
                </a:lnTo>
                <a:cubicBezTo>
                  <a:pt x="531061" y="197627"/>
                  <a:pt x="534411" y="200892"/>
                  <a:pt x="538148" y="200892"/>
                </a:cubicBezTo>
                <a:cubicBezTo>
                  <a:pt x="541842" y="200892"/>
                  <a:pt x="544977" y="197756"/>
                  <a:pt x="544977" y="194062"/>
                </a:cubicBezTo>
                <a:lnTo>
                  <a:pt x="544977" y="179286"/>
                </a:lnTo>
                <a:cubicBezTo>
                  <a:pt x="544977" y="175548"/>
                  <a:pt x="541714" y="172241"/>
                  <a:pt x="537676" y="171898"/>
                </a:cubicBezTo>
                <a:close/>
                <a:moveTo>
                  <a:pt x="613467" y="165724"/>
                </a:moveTo>
                <a:lnTo>
                  <a:pt x="618431" y="191073"/>
                </a:lnTo>
                <a:lnTo>
                  <a:pt x="618431" y="194062"/>
                </a:lnTo>
                <a:lnTo>
                  <a:pt x="619146" y="194723"/>
                </a:lnTo>
                <a:lnTo>
                  <a:pt x="622303" y="210848"/>
                </a:lnTo>
                <a:lnTo>
                  <a:pt x="613136" y="207126"/>
                </a:lnTo>
                <a:cubicBezTo>
                  <a:pt x="609764" y="203931"/>
                  <a:pt x="607499" y="199496"/>
                  <a:pt x="607090" y="194535"/>
                </a:cubicBezTo>
                <a:lnTo>
                  <a:pt x="607047" y="179286"/>
                </a:lnTo>
                <a:cubicBezTo>
                  <a:pt x="607047" y="174196"/>
                  <a:pt x="609195" y="169503"/>
                  <a:pt x="612615" y="166083"/>
                </a:cubicBezTo>
                <a:close/>
                <a:moveTo>
                  <a:pt x="449083" y="160881"/>
                </a:moveTo>
                <a:cubicBezTo>
                  <a:pt x="459521" y="161740"/>
                  <a:pt x="467296" y="169988"/>
                  <a:pt x="467296" y="179652"/>
                </a:cubicBezTo>
                <a:lnTo>
                  <a:pt x="467296" y="194429"/>
                </a:lnTo>
                <a:cubicBezTo>
                  <a:pt x="467296" y="204479"/>
                  <a:pt x="459135" y="212641"/>
                  <a:pt x="449083" y="212641"/>
                </a:cubicBezTo>
                <a:cubicBezTo>
                  <a:pt x="439418" y="212641"/>
                  <a:pt x="431171" y="204823"/>
                  <a:pt x="430355" y="194901"/>
                </a:cubicBezTo>
                <a:lnTo>
                  <a:pt x="430312" y="179652"/>
                </a:lnTo>
                <a:cubicBezTo>
                  <a:pt x="430312" y="169472"/>
                  <a:pt x="438903" y="160881"/>
                  <a:pt x="449083" y="160881"/>
                </a:cubicBezTo>
                <a:close/>
                <a:moveTo>
                  <a:pt x="361415" y="160881"/>
                </a:moveTo>
                <a:cubicBezTo>
                  <a:pt x="371853" y="161740"/>
                  <a:pt x="379628" y="169988"/>
                  <a:pt x="379628" y="179652"/>
                </a:cubicBezTo>
                <a:lnTo>
                  <a:pt x="379628" y="194429"/>
                </a:lnTo>
                <a:cubicBezTo>
                  <a:pt x="379628" y="204479"/>
                  <a:pt x="371467" y="212641"/>
                  <a:pt x="361415" y="212641"/>
                </a:cubicBezTo>
                <a:cubicBezTo>
                  <a:pt x="351750" y="212641"/>
                  <a:pt x="343504" y="204823"/>
                  <a:pt x="342687" y="194901"/>
                </a:cubicBezTo>
                <a:lnTo>
                  <a:pt x="342644" y="179652"/>
                </a:lnTo>
                <a:cubicBezTo>
                  <a:pt x="342644" y="169472"/>
                  <a:pt x="351235" y="160881"/>
                  <a:pt x="361415" y="160881"/>
                </a:cubicBezTo>
                <a:close/>
                <a:moveTo>
                  <a:pt x="273744" y="160881"/>
                </a:moveTo>
                <a:cubicBezTo>
                  <a:pt x="284182" y="161740"/>
                  <a:pt x="291956" y="169988"/>
                  <a:pt x="291956" y="179652"/>
                </a:cubicBezTo>
                <a:lnTo>
                  <a:pt x="291956" y="194429"/>
                </a:lnTo>
                <a:cubicBezTo>
                  <a:pt x="291956" y="204479"/>
                  <a:pt x="283795" y="212641"/>
                  <a:pt x="273744" y="212641"/>
                </a:cubicBezTo>
                <a:cubicBezTo>
                  <a:pt x="264080" y="212641"/>
                  <a:pt x="255832" y="204823"/>
                  <a:pt x="255017" y="194901"/>
                </a:cubicBezTo>
                <a:lnTo>
                  <a:pt x="254974" y="179652"/>
                </a:lnTo>
                <a:cubicBezTo>
                  <a:pt x="254974" y="169472"/>
                  <a:pt x="263564" y="160881"/>
                  <a:pt x="273744" y="160881"/>
                </a:cubicBezTo>
                <a:close/>
                <a:moveTo>
                  <a:pt x="179514" y="160881"/>
                </a:moveTo>
                <a:cubicBezTo>
                  <a:pt x="189952" y="161740"/>
                  <a:pt x="197726" y="169988"/>
                  <a:pt x="197726" y="179652"/>
                </a:cubicBezTo>
                <a:lnTo>
                  <a:pt x="197726" y="194429"/>
                </a:lnTo>
                <a:cubicBezTo>
                  <a:pt x="197726" y="199454"/>
                  <a:pt x="195687" y="204008"/>
                  <a:pt x="192390" y="207304"/>
                </a:cubicBezTo>
                <a:lnTo>
                  <a:pt x="192075" y="207434"/>
                </a:lnTo>
                <a:lnTo>
                  <a:pt x="192018" y="207570"/>
                </a:lnTo>
                <a:cubicBezTo>
                  <a:pt x="188722" y="210867"/>
                  <a:pt x="184168" y="212908"/>
                  <a:pt x="179143" y="212908"/>
                </a:cubicBezTo>
                <a:cubicBezTo>
                  <a:pt x="169477" y="212908"/>
                  <a:pt x="161231" y="205089"/>
                  <a:pt x="160414" y="195168"/>
                </a:cubicBezTo>
                <a:lnTo>
                  <a:pt x="160372" y="179919"/>
                </a:lnTo>
                <a:cubicBezTo>
                  <a:pt x="160372" y="174828"/>
                  <a:pt x="162519" y="170135"/>
                  <a:pt x="165940" y="166716"/>
                </a:cubicBezTo>
                <a:lnTo>
                  <a:pt x="166255" y="166583"/>
                </a:lnTo>
                <a:lnTo>
                  <a:pt x="166311" y="166448"/>
                </a:lnTo>
                <a:cubicBezTo>
                  <a:pt x="169732" y="163029"/>
                  <a:pt x="174425" y="160881"/>
                  <a:pt x="179514" y="160881"/>
                </a:cubicBezTo>
                <a:close/>
                <a:moveTo>
                  <a:pt x="91846" y="160881"/>
                </a:moveTo>
                <a:cubicBezTo>
                  <a:pt x="102285" y="161740"/>
                  <a:pt x="110059" y="169988"/>
                  <a:pt x="110059" y="179652"/>
                </a:cubicBezTo>
                <a:lnTo>
                  <a:pt x="110059" y="194429"/>
                </a:lnTo>
                <a:cubicBezTo>
                  <a:pt x="110059" y="199454"/>
                  <a:pt x="108018" y="204008"/>
                  <a:pt x="104722" y="207304"/>
                </a:cubicBezTo>
                <a:lnTo>
                  <a:pt x="104406" y="207434"/>
                </a:lnTo>
                <a:lnTo>
                  <a:pt x="104350" y="207570"/>
                </a:lnTo>
                <a:cubicBezTo>
                  <a:pt x="101053" y="210867"/>
                  <a:pt x="96500" y="212908"/>
                  <a:pt x="91474" y="212908"/>
                </a:cubicBezTo>
                <a:cubicBezTo>
                  <a:pt x="81810" y="212908"/>
                  <a:pt x="73563" y="205089"/>
                  <a:pt x="72747" y="195168"/>
                </a:cubicBezTo>
                <a:lnTo>
                  <a:pt x="72738" y="191940"/>
                </a:lnTo>
                <a:lnTo>
                  <a:pt x="77195" y="169269"/>
                </a:lnTo>
                <a:lnTo>
                  <a:pt x="78271" y="166716"/>
                </a:lnTo>
                <a:lnTo>
                  <a:pt x="78587" y="166583"/>
                </a:lnTo>
                <a:lnTo>
                  <a:pt x="78643" y="166448"/>
                </a:lnTo>
                <a:cubicBezTo>
                  <a:pt x="82063" y="163029"/>
                  <a:pt x="86756" y="160881"/>
                  <a:pt x="91846" y="160881"/>
                </a:cubicBezTo>
                <a:close/>
                <a:moveTo>
                  <a:pt x="492640" y="160662"/>
                </a:moveTo>
                <a:cubicBezTo>
                  <a:pt x="496163" y="160662"/>
                  <a:pt x="499041" y="163540"/>
                  <a:pt x="499041" y="167063"/>
                </a:cubicBezTo>
                <a:lnTo>
                  <a:pt x="499041" y="205850"/>
                </a:lnTo>
                <a:cubicBezTo>
                  <a:pt x="499041" y="209373"/>
                  <a:pt x="496163" y="212250"/>
                  <a:pt x="492640" y="212250"/>
                </a:cubicBezTo>
                <a:cubicBezTo>
                  <a:pt x="489118" y="212250"/>
                  <a:pt x="486240" y="209373"/>
                  <a:pt x="486240" y="205850"/>
                </a:cubicBezTo>
                <a:lnTo>
                  <a:pt x="486240" y="167063"/>
                </a:lnTo>
                <a:cubicBezTo>
                  <a:pt x="486240" y="163540"/>
                  <a:pt x="489118" y="160662"/>
                  <a:pt x="492640" y="160662"/>
                </a:cubicBezTo>
                <a:close/>
                <a:moveTo>
                  <a:pt x="404969" y="160662"/>
                </a:moveTo>
                <a:cubicBezTo>
                  <a:pt x="408491" y="160662"/>
                  <a:pt x="411370" y="163540"/>
                  <a:pt x="411370" y="167063"/>
                </a:cubicBezTo>
                <a:lnTo>
                  <a:pt x="411370" y="205850"/>
                </a:lnTo>
                <a:cubicBezTo>
                  <a:pt x="411370" y="209373"/>
                  <a:pt x="408491" y="212250"/>
                  <a:pt x="404969" y="212250"/>
                </a:cubicBezTo>
                <a:cubicBezTo>
                  <a:pt x="401447" y="212250"/>
                  <a:pt x="398569" y="209373"/>
                  <a:pt x="398569" y="205850"/>
                </a:cubicBezTo>
                <a:lnTo>
                  <a:pt x="398569" y="167063"/>
                </a:lnTo>
                <a:cubicBezTo>
                  <a:pt x="398569" y="163540"/>
                  <a:pt x="401447" y="160662"/>
                  <a:pt x="404969" y="160662"/>
                </a:cubicBezTo>
                <a:close/>
                <a:moveTo>
                  <a:pt x="317298" y="160662"/>
                </a:moveTo>
                <a:cubicBezTo>
                  <a:pt x="320821" y="160662"/>
                  <a:pt x="323699" y="163540"/>
                  <a:pt x="323699" y="167063"/>
                </a:cubicBezTo>
                <a:lnTo>
                  <a:pt x="323699" y="205850"/>
                </a:lnTo>
                <a:cubicBezTo>
                  <a:pt x="323699" y="209373"/>
                  <a:pt x="320821" y="212250"/>
                  <a:pt x="317298" y="212250"/>
                </a:cubicBezTo>
                <a:cubicBezTo>
                  <a:pt x="313776" y="212250"/>
                  <a:pt x="310898" y="209373"/>
                  <a:pt x="310898" y="205850"/>
                </a:cubicBezTo>
                <a:lnTo>
                  <a:pt x="310898" y="167063"/>
                </a:lnTo>
                <a:cubicBezTo>
                  <a:pt x="310898" y="163540"/>
                  <a:pt x="313776" y="160662"/>
                  <a:pt x="317298" y="160662"/>
                </a:cubicBezTo>
                <a:close/>
                <a:moveTo>
                  <a:pt x="223070" y="160662"/>
                </a:moveTo>
                <a:cubicBezTo>
                  <a:pt x="226593" y="160662"/>
                  <a:pt x="229471" y="163540"/>
                  <a:pt x="229471" y="167063"/>
                </a:cubicBezTo>
                <a:lnTo>
                  <a:pt x="229471" y="205850"/>
                </a:lnTo>
                <a:cubicBezTo>
                  <a:pt x="229471" y="209373"/>
                  <a:pt x="226593" y="212250"/>
                  <a:pt x="223070" y="212250"/>
                </a:cubicBezTo>
                <a:lnTo>
                  <a:pt x="223018" y="212198"/>
                </a:lnTo>
                <a:lnTo>
                  <a:pt x="222699" y="212517"/>
                </a:lnTo>
                <a:cubicBezTo>
                  <a:pt x="219177" y="212517"/>
                  <a:pt x="216299" y="209639"/>
                  <a:pt x="216299" y="206117"/>
                </a:cubicBezTo>
                <a:lnTo>
                  <a:pt x="216299" y="167329"/>
                </a:lnTo>
                <a:cubicBezTo>
                  <a:pt x="216299" y="163806"/>
                  <a:pt x="219177" y="160929"/>
                  <a:pt x="222699" y="160929"/>
                </a:cubicBezTo>
                <a:lnTo>
                  <a:pt x="222752" y="160981"/>
                </a:lnTo>
                <a:close/>
                <a:moveTo>
                  <a:pt x="135400" y="160662"/>
                </a:moveTo>
                <a:cubicBezTo>
                  <a:pt x="138923" y="160662"/>
                  <a:pt x="141801" y="163540"/>
                  <a:pt x="141801" y="167063"/>
                </a:cubicBezTo>
                <a:lnTo>
                  <a:pt x="141801" y="205850"/>
                </a:lnTo>
                <a:cubicBezTo>
                  <a:pt x="141801" y="209373"/>
                  <a:pt x="138923" y="212250"/>
                  <a:pt x="135400" y="212250"/>
                </a:cubicBezTo>
                <a:lnTo>
                  <a:pt x="135347" y="212198"/>
                </a:lnTo>
                <a:lnTo>
                  <a:pt x="135028" y="212517"/>
                </a:lnTo>
                <a:cubicBezTo>
                  <a:pt x="131506" y="212517"/>
                  <a:pt x="128628" y="209639"/>
                  <a:pt x="128628" y="206117"/>
                </a:cubicBezTo>
                <a:lnTo>
                  <a:pt x="128628" y="167329"/>
                </a:lnTo>
                <a:cubicBezTo>
                  <a:pt x="128628" y="163806"/>
                  <a:pt x="131506" y="160929"/>
                  <a:pt x="135028" y="160929"/>
                </a:cubicBezTo>
                <a:lnTo>
                  <a:pt x="135080" y="160981"/>
                </a:lnTo>
                <a:close/>
                <a:moveTo>
                  <a:pt x="538148" y="160515"/>
                </a:moveTo>
                <a:cubicBezTo>
                  <a:pt x="548586" y="161374"/>
                  <a:pt x="556361" y="169621"/>
                  <a:pt x="556361" y="179286"/>
                </a:cubicBezTo>
                <a:lnTo>
                  <a:pt x="556361" y="194062"/>
                </a:lnTo>
                <a:cubicBezTo>
                  <a:pt x="556361" y="204113"/>
                  <a:pt x="548199" y="212275"/>
                  <a:pt x="538148" y="212275"/>
                </a:cubicBezTo>
                <a:cubicBezTo>
                  <a:pt x="528484" y="212275"/>
                  <a:pt x="520237" y="204457"/>
                  <a:pt x="519420" y="194535"/>
                </a:cubicBezTo>
                <a:lnTo>
                  <a:pt x="519377" y="179286"/>
                </a:lnTo>
                <a:cubicBezTo>
                  <a:pt x="519377" y="169105"/>
                  <a:pt x="527968" y="160515"/>
                  <a:pt x="538148" y="160515"/>
                </a:cubicBezTo>
                <a:close/>
                <a:moveTo>
                  <a:pt x="581702" y="160296"/>
                </a:moveTo>
                <a:cubicBezTo>
                  <a:pt x="585224" y="160296"/>
                  <a:pt x="588102" y="163173"/>
                  <a:pt x="588102" y="166696"/>
                </a:cubicBezTo>
                <a:lnTo>
                  <a:pt x="588102" y="205485"/>
                </a:lnTo>
                <a:cubicBezTo>
                  <a:pt x="588102" y="209006"/>
                  <a:pt x="585224" y="211884"/>
                  <a:pt x="581702" y="211884"/>
                </a:cubicBezTo>
                <a:cubicBezTo>
                  <a:pt x="578180" y="211884"/>
                  <a:pt x="575301" y="209006"/>
                  <a:pt x="575301" y="205485"/>
                </a:cubicBezTo>
                <a:lnTo>
                  <a:pt x="575301" y="166696"/>
                </a:lnTo>
                <a:cubicBezTo>
                  <a:pt x="575301" y="163173"/>
                  <a:pt x="578180" y="160296"/>
                  <a:pt x="581702" y="160296"/>
                </a:cubicBezTo>
                <a:close/>
                <a:moveTo>
                  <a:pt x="85915" y="128342"/>
                </a:moveTo>
                <a:lnTo>
                  <a:pt x="85915" y="141332"/>
                </a:lnTo>
                <a:lnTo>
                  <a:pt x="81890" y="145384"/>
                </a:lnTo>
                <a:lnTo>
                  <a:pt x="84953" y="129803"/>
                </a:lnTo>
                <a:close/>
                <a:moveTo>
                  <a:pt x="210384" y="107506"/>
                </a:moveTo>
                <a:lnTo>
                  <a:pt x="203870" y="114018"/>
                </a:lnTo>
                <a:lnTo>
                  <a:pt x="203870" y="128794"/>
                </a:lnTo>
                <a:lnTo>
                  <a:pt x="211111" y="136119"/>
                </a:lnTo>
                <a:lnTo>
                  <a:pt x="217717" y="129060"/>
                </a:lnTo>
                <a:lnTo>
                  <a:pt x="217717" y="114285"/>
                </a:lnTo>
                <a:close/>
                <a:moveTo>
                  <a:pt x="122714" y="107506"/>
                </a:moveTo>
                <a:lnTo>
                  <a:pt x="116200" y="114018"/>
                </a:lnTo>
                <a:lnTo>
                  <a:pt x="116200" y="128794"/>
                </a:lnTo>
                <a:lnTo>
                  <a:pt x="123439" y="136119"/>
                </a:lnTo>
                <a:lnTo>
                  <a:pt x="130047" y="129060"/>
                </a:lnTo>
                <a:lnTo>
                  <a:pt x="130047" y="114285"/>
                </a:lnTo>
                <a:close/>
                <a:moveTo>
                  <a:pt x="480270" y="107188"/>
                </a:moveTo>
                <a:cubicBezTo>
                  <a:pt x="476576" y="107188"/>
                  <a:pt x="473440" y="110324"/>
                  <a:pt x="473440" y="114018"/>
                </a:cubicBezTo>
                <a:lnTo>
                  <a:pt x="473440" y="128794"/>
                </a:lnTo>
                <a:cubicBezTo>
                  <a:pt x="473440" y="132532"/>
                  <a:pt x="476704" y="135839"/>
                  <a:pt x="480743" y="136183"/>
                </a:cubicBezTo>
                <a:cubicBezTo>
                  <a:pt x="483750" y="136183"/>
                  <a:pt x="487659" y="133133"/>
                  <a:pt x="487659" y="128794"/>
                </a:cubicBezTo>
                <a:lnTo>
                  <a:pt x="487659" y="114018"/>
                </a:lnTo>
                <a:cubicBezTo>
                  <a:pt x="487358" y="110453"/>
                  <a:pt x="484007" y="107188"/>
                  <a:pt x="480270" y="107188"/>
                </a:cubicBezTo>
                <a:close/>
                <a:moveTo>
                  <a:pt x="392599" y="107188"/>
                </a:moveTo>
                <a:cubicBezTo>
                  <a:pt x="388905" y="107188"/>
                  <a:pt x="385769" y="110324"/>
                  <a:pt x="385769" y="114018"/>
                </a:cubicBezTo>
                <a:lnTo>
                  <a:pt x="385769" y="128794"/>
                </a:lnTo>
                <a:cubicBezTo>
                  <a:pt x="385769" y="132532"/>
                  <a:pt x="389034" y="135839"/>
                  <a:pt x="393071" y="136183"/>
                </a:cubicBezTo>
                <a:cubicBezTo>
                  <a:pt x="396079" y="136183"/>
                  <a:pt x="399987" y="133133"/>
                  <a:pt x="399987" y="128794"/>
                </a:cubicBezTo>
                <a:lnTo>
                  <a:pt x="399987" y="114018"/>
                </a:lnTo>
                <a:cubicBezTo>
                  <a:pt x="399687" y="110453"/>
                  <a:pt x="396336" y="107188"/>
                  <a:pt x="392599" y="107188"/>
                </a:cubicBezTo>
                <a:close/>
                <a:moveTo>
                  <a:pt x="304971" y="107188"/>
                </a:moveTo>
                <a:cubicBezTo>
                  <a:pt x="301277" y="107188"/>
                  <a:pt x="298141" y="110324"/>
                  <a:pt x="298141" y="114018"/>
                </a:cubicBezTo>
                <a:lnTo>
                  <a:pt x="298141" y="128794"/>
                </a:lnTo>
                <a:cubicBezTo>
                  <a:pt x="298141" y="132532"/>
                  <a:pt x="301406" y="135839"/>
                  <a:pt x="305444" y="136183"/>
                </a:cubicBezTo>
                <a:cubicBezTo>
                  <a:pt x="308450" y="136183"/>
                  <a:pt x="312359" y="133133"/>
                  <a:pt x="312359" y="128794"/>
                </a:cubicBezTo>
                <a:lnTo>
                  <a:pt x="312359" y="114018"/>
                </a:lnTo>
                <a:cubicBezTo>
                  <a:pt x="312059" y="110453"/>
                  <a:pt x="308708" y="107188"/>
                  <a:pt x="304971" y="107188"/>
                </a:cubicBezTo>
                <a:close/>
                <a:moveTo>
                  <a:pt x="569375" y="106823"/>
                </a:moveTo>
                <a:cubicBezTo>
                  <a:pt x="565681" y="106823"/>
                  <a:pt x="562546" y="109958"/>
                  <a:pt x="562546" y="113653"/>
                </a:cubicBezTo>
                <a:lnTo>
                  <a:pt x="562546" y="128428"/>
                </a:lnTo>
                <a:cubicBezTo>
                  <a:pt x="562546" y="132166"/>
                  <a:pt x="565810" y="135472"/>
                  <a:pt x="569847" y="135816"/>
                </a:cubicBezTo>
                <a:cubicBezTo>
                  <a:pt x="572854" y="135816"/>
                  <a:pt x="576763" y="132767"/>
                  <a:pt x="576763" y="128428"/>
                </a:cubicBezTo>
                <a:lnTo>
                  <a:pt x="576763" y="113653"/>
                </a:lnTo>
                <a:cubicBezTo>
                  <a:pt x="576463" y="110087"/>
                  <a:pt x="573112" y="106823"/>
                  <a:pt x="569375" y="106823"/>
                </a:cubicBezTo>
                <a:close/>
                <a:moveTo>
                  <a:pt x="562281" y="98380"/>
                </a:moveTo>
                <a:lnTo>
                  <a:pt x="582211" y="112182"/>
                </a:lnTo>
                <a:lnTo>
                  <a:pt x="588126" y="121211"/>
                </a:lnTo>
                <a:lnTo>
                  <a:pt x="588146" y="128428"/>
                </a:lnTo>
                <a:cubicBezTo>
                  <a:pt x="588146" y="138608"/>
                  <a:pt x="579555" y="147199"/>
                  <a:pt x="569375" y="147199"/>
                </a:cubicBezTo>
                <a:cubicBezTo>
                  <a:pt x="558938" y="146341"/>
                  <a:pt x="551162" y="138094"/>
                  <a:pt x="551162" y="128428"/>
                </a:cubicBezTo>
                <a:lnTo>
                  <a:pt x="551162" y="113653"/>
                </a:lnTo>
                <a:cubicBezTo>
                  <a:pt x="551162" y="108627"/>
                  <a:pt x="553203" y="104074"/>
                  <a:pt x="556499" y="100777"/>
                </a:cubicBezTo>
                <a:close/>
                <a:moveTo>
                  <a:pt x="436712" y="96145"/>
                </a:moveTo>
                <a:cubicBezTo>
                  <a:pt x="440234" y="96145"/>
                  <a:pt x="443112" y="99023"/>
                  <a:pt x="443112" y="102545"/>
                </a:cubicBezTo>
                <a:lnTo>
                  <a:pt x="443112" y="141332"/>
                </a:lnTo>
                <a:cubicBezTo>
                  <a:pt x="443156" y="144898"/>
                  <a:pt x="440277" y="147776"/>
                  <a:pt x="436712" y="147776"/>
                </a:cubicBezTo>
                <a:cubicBezTo>
                  <a:pt x="433190" y="147776"/>
                  <a:pt x="430312" y="144898"/>
                  <a:pt x="430312" y="141375"/>
                </a:cubicBezTo>
                <a:lnTo>
                  <a:pt x="430312" y="102545"/>
                </a:lnTo>
                <a:cubicBezTo>
                  <a:pt x="430312" y="99023"/>
                  <a:pt x="433190" y="96145"/>
                  <a:pt x="436712" y="96145"/>
                </a:cubicBezTo>
                <a:close/>
                <a:moveTo>
                  <a:pt x="349084" y="96145"/>
                </a:moveTo>
                <a:cubicBezTo>
                  <a:pt x="352606" y="96145"/>
                  <a:pt x="355484" y="99023"/>
                  <a:pt x="355484" y="102545"/>
                </a:cubicBezTo>
                <a:lnTo>
                  <a:pt x="355484" y="141332"/>
                </a:lnTo>
                <a:cubicBezTo>
                  <a:pt x="355484" y="144898"/>
                  <a:pt x="352606" y="147776"/>
                  <a:pt x="349084" y="147776"/>
                </a:cubicBezTo>
                <a:cubicBezTo>
                  <a:pt x="345562" y="147776"/>
                  <a:pt x="342684" y="144898"/>
                  <a:pt x="342684" y="141375"/>
                </a:cubicBezTo>
                <a:lnTo>
                  <a:pt x="342684" y="102545"/>
                </a:lnTo>
                <a:cubicBezTo>
                  <a:pt x="342684" y="99023"/>
                  <a:pt x="345562" y="96145"/>
                  <a:pt x="349084" y="96145"/>
                </a:cubicBezTo>
                <a:close/>
                <a:moveTo>
                  <a:pt x="261413" y="96145"/>
                </a:moveTo>
                <a:cubicBezTo>
                  <a:pt x="264935" y="96145"/>
                  <a:pt x="267813" y="99023"/>
                  <a:pt x="267813" y="102545"/>
                </a:cubicBezTo>
                <a:lnTo>
                  <a:pt x="267813" y="141332"/>
                </a:lnTo>
                <a:cubicBezTo>
                  <a:pt x="267813" y="144898"/>
                  <a:pt x="264935" y="147776"/>
                  <a:pt x="261413" y="147776"/>
                </a:cubicBezTo>
                <a:cubicBezTo>
                  <a:pt x="257892" y="147776"/>
                  <a:pt x="255013" y="144898"/>
                  <a:pt x="255013" y="141375"/>
                </a:cubicBezTo>
                <a:lnTo>
                  <a:pt x="255013" y="102545"/>
                </a:lnTo>
                <a:cubicBezTo>
                  <a:pt x="254970" y="99023"/>
                  <a:pt x="257849" y="96145"/>
                  <a:pt x="261413" y="96145"/>
                </a:cubicBezTo>
                <a:close/>
                <a:moveTo>
                  <a:pt x="167143" y="96145"/>
                </a:moveTo>
                <a:cubicBezTo>
                  <a:pt x="170665" y="96145"/>
                  <a:pt x="173543" y="99023"/>
                  <a:pt x="173543" y="102545"/>
                </a:cubicBezTo>
                <a:lnTo>
                  <a:pt x="173543" y="141332"/>
                </a:lnTo>
                <a:cubicBezTo>
                  <a:pt x="173586" y="144898"/>
                  <a:pt x="170708" y="147776"/>
                  <a:pt x="167143" y="147776"/>
                </a:cubicBezTo>
                <a:lnTo>
                  <a:pt x="167089" y="147722"/>
                </a:lnTo>
                <a:lnTo>
                  <a:pt x="166772" y="148042"/>
                </a:lnTo>
                <a:cubicBezTo>
                  <a:pt x="163249" y="148042"/>
                  <a:pt x="160372" y="145164"/>
                  <a:pt x="160372" y="141642"/>
                </a:cubicBezTo>
                <a:lnTo>
                  <a:pt x="160372" y="102811"/>
                </a:lnTo>
                <a:cubicBezTo>
                  <a:pt x="160372" y="99289"/>
                  <a:pt x="163249" y="96411"/>
                  <a:pt x="166772" y="96411"/>
                </a:cubicBezTo>
                <a:lnTo>
                  <a:pt x="166824" y="96463"/>
                </a:lnTo>
                <a:close/>
                <a:moveTo>
                  <a:pt x="480313" y="95806"/>
                </a:moveTo>
                <a:cubicBezTo>
                  <a:pt x="489978" y="95806"/>
                  <a:pt x="498225" y="103623"/>
                  <a:pt x="499041" y="113546"/>
                </a:cubicBezTo>
                <a:lnTo>
                  <a:pt x="499084" y="128794"/>
                </a:lnTo>
                <a:cubicBezTo>
                  <a:pt x="499084" y="138975"/>
                  <a:pt x="490494" y="147565"/>
                  <a:pt x="480313" y="147565"/>
                </a:cubicBezTo>
                <a:cubicBezTo>
                  <a:pt x="469875" y="146706"/>
                  <a:pt x="462100" y="138459"/>
                  <a:pt x="462100" y="128794"/>
                </a:cubicBezTo>
                <a:lnTo>
                  <a:pt x="462100" y="114018"/>
                </a:lnTo>
                <a:cubicBezTo>
                  <a:pt x="462100" y="103967"/>
                  <a:pt x="470262" y="95806"/>
                  <a:pt x="480313" y="95806"/>
                </a:cubicBezTo>
                <a:close/>
                <a:moveTo>
                  <a:pt x="392643" y="95806"/>
                </a:moveTo>
                <a:cubicBezTo>
                  <a:pt x="402306" y="95806"/>
                  <a:pt x="410554" y="103623"/>
                  <a:pt x="411371" y="113546"/>
                </a:cubicBezTo>
                <a:lnTo>
                  <a:pt x="411414" y="128794"/>
                </a:lnTo>
                <a:cubicBezTo>
                  <a:pt x="411414" y="138975"/>
                  <a:pt x="402822" y="147565"/>
                  <a:pt x="392643" y="147565"/>
                </a:cubicBezTo>
                <a:cubicBezTo>
                  <a:pt x="382204" y="146706"/>
                  <a:pt x="374430" y="138459"/>
                  <a:pt x="374430" y="128794"/>
                </a:cubicBezTo>
                <a:lnTo>
                  <a:pt x="374430" y="114018"/>
                </a:lnTo>
                <a:cubicBezTo>
                  <a:pt x="374430" y="103967"/>
                  <a:pt x="382591" y="95806"/>
                  <a:pt x="392643" y="95806"/>
                </a:cubicBezTo>
                <a:close/>
                <a:moveTo>
                  <a:pt x="304971" y="95806"/>
                </a:moveTo>
                <a:cubicBezTo>
                  <a:pt x="314637" y="95806"/>
                  <a:pt x="322883" y="103623"/>
                  <a:pt x="323700" y="113546"/>
                </a:cubicBezTo>
                <a:lnTo>
                  <a:pt x="323742" y="128794"/>
                </a:lnTo>
                <a:cubicBezTo>
                  <a:pt x="323742" y="138975"/>
                  <a:pt x="315152" y="147565"/>
                  <a:pt x="304971" y="147565"/>
                </a:cubicBezTo>
                <a:cubicBezTo>
                  <a:pt x="294534" y="146706"/>
                  <a:pt x="286759" y="138459"/>
                  <a:pt x="286759" y="128794"/>
                </a:cubicBezTo>
                <a:lnTo>
                  <a:pt x="286759" y="114018"/>
                </a:lnTo>
                <a:cubicBezTo>
                  <a:pt x="286759" y="103967"/>
                  <a:pt x="294920" y="95806"/>
                  <a:pt x="304971" y="95806"/>
                </a:cubicBezTo>
                <a:close/>
                <a:moveTo>
                  <a:pt x="210744" y="95806"/>
                </a:moveTo>
                <a:cubicBezTo>
                  <a:pt x="220408" y="95806"/>
                  <a:pt x="228655" y="103623"/>
                  <a:pt x="229472" y="113546"/>
                </a:cubicBezTo>
                <a:lnTo>
                  <a:pt x="229515" y="128794"/>
                </a:lnTo>
                <a:cubicBezTo>
                  <a:pt x="229515" y="133884"/>
                  <a:pt x="227367" y="138577"/>
                  <a:pt x="223947" y="141997"/>
                </a:cubicBezTo>
                <a:lnTo>
                  <a:pt x="223632" y="142130"/>
                </a:lnTo>
                <a:lnTo>
                  <a:pt x="223576" y="142263"/>
                </a:lnTo>
                <a:cubicBezTo>
                  <a:pt x="220155" y="145684"/>
                  <a:pt x="215463" y="147831"/>
                  <a:pt x="210373" y="147831"/>
                </a:cubicBezTo>
                <a:cubicBezTo>
                  <a:pt x="199934" y="146973"/>
                  <a:pt x="192160" y="138726"/>
                  <a:pt x="192160" y="129060"/>
                </a:cubicBezTo>
                <a:lnTo>
                  <a:pt x="192160" y="114285"/>
                </a:lnTo>
                <a:cubicBezTo>
                  <a:pt x="192160" y="109259"/>
                  <a:pt x="194201" y="104706"/>
                  <a:pt x="197497" y="101410"/>
                </a:cubicBezTo>
                <a:lnTo>
                  <a:pt x="197812" y="101279"/>
                </a:lnTo>
                <a:lnTo>
                  <a:pt x="197869" y="101142"/>
                </a:lnTo>
                <a:cubicBezTo>
                  <a:pt x="201165" y="97846"/>
                  <a:pt x="205719" y="95806"/>
                  <a:pt x="210744" y="95806"/>
                </a:cubicBezTo>
                <a:close/>
                <a:moveTo>
                  <a:pt x="123073" y="95806"/>
                </a:moveTo>
                <a:cubicBezTo>
                  <a:pt x="132738" y="95806"/>
                  <a:pt x="140985" y="103623"/>
                  <a:pt x="141801" y="113546"/>
                </a:cubicBezTo>
                <a:lnTo>
                  <a:pt x="141844" y="128794"/>
                </a:lnTo>
                <a:cubicBezTo>
                  <a:pt x="141844" y="133884"/>
                  <a:pt x="139696" y="138577"/>
                  <a:pt x="136276" y="141997"/>
                </a:cubicBezTo>
                <a:lnTo>
                  <a:pt x="135961" y="142130"/>
                </a:lnTo>
                <a:lnTo>
                  <a:pt x="135904" y="142263"/>
                </a:lnTo>
                <a:cubicBezTo>
                  <a:pt x="132485" y="145684"/>
                  <a:pt x="127792" y="147831"/>
                  <a:pt x="122701" y="147831"/>
                </a:cubicBezTo>
                <a:cubicBezTo>
                  <a:pt x="112264" y="146973"/>
                  <a:pt x="104489" y="138726"/>
                  <a:pt x="104489" y="129060"/>
                </a:cubicBezTo>
                <a:lnTo>
                  <a:pt x="104489" y="114285"/>
                </a:lnTo>
                <a:cubicBezTo>
                  <a:pt x="104489" y="109259"/>
                  <a:pt x="106529" y="104706"/>
                  <a:pt x="109826" y="101410"/>
                </a:cubicBezTo>
                <a:lnTo>
                  <a:pt x="110141" y="101279"/>
                </a:lnTo>
                <a:lnTo>
                  <a:pt x="110197" y="101142"/>
                </a:lnTo>
                <a:cubicBezTo>
                  <a:pt x="113494" y="97846"/>
                  <a:pt x="118047" y="95806"/>
                  <a:pt x="123073" y="95806"/>
                </a:cubicBezTo>
                <a:close/>
                <a:moveTo>
                  <a:pt x="525818" y="95778"/>
                </a:moveTo>
                <a:cubicBezTo>
                  <a:pt x="529339" y="95778"/>
                  <a:pt x="532218" y="98656"/>
                  <a:pt x="532218" y="102178"/>
                </a:cubicBezTo>
                <a:lnTo>
                  <a:pt x="532218" y="140966"/>
                </a:lnTo>
                <a:cubicBezTo>
                  <a:pt x="532218" y="144531"/>
                  <a:pt x="529339" y="147409"/>
                  <a:pt x="525818" y="147409"/>
                </a:cubicBezTo>
                <a:cubicBezTo>
                  <a:pt x="522295" y="147409"/>
                  <a:pt x="519417" y="144531"/>
                  <a:pt x="519417" y="141010"/>
                </a:cubicBezTo>
                <a:lnTo>
                  <a:pt x="519417" y="102178"/>
                </a:lnTo>
                <a:cubicBezTo>
                  <a:pt x="519374" y="98656"/>
                  <a:pt x="522252" y="95778"/>
                  <a:pt x="525818" y="95778"/>
                </a:cubicBezTo>
                <a:close/>
                <a:moveTo>
                  <a:pt x="499147" y="73621"/>
                </a:moveTo>
                <a:lnTo>
                  <a:pt x="503721" y="74567"/>
                </a:lnTo>
                <a:lnTo>
                  <a:pt x="505756" y="77921"/>
                </a:lnTo>
                <a:lnTo>
                  <a:pt x="507642" y="84001"/>
                </a:lnTo>
                <a:lnTo>
                  <a:pt x="516722" y="80678"/>
                </a:lnTo>
                <a:lnTo>
                  <a:pt x="517789" y="81759"/>
                </a:lnTo>
                <a:lnTo>
                  <a:pt x="519884" y="79520"/>
                </a:lnTo>
                <a:lnTo>
                  <a:pt x="522694" y="78492"/>
                </a:lnTo>
                <a:lnTo>
                  <a:pt x="533454" y="80718"/>
                </a:lnTo>
                <a:lnTo>
                  <a:pt x="530564" y="87573"/>
                </a:lnTo>
                <a:cubicBezTo>
                  <a:pt x="527143" y="90994"/>
                  <a:pt x="522450" y="93141"/>
                  <a:pt x="517360" y="93141"/>
                </a:cubicBezTo>
                <a:cubicBezTo>
                  <a:pt x="506922" y="92281"/>
                  <a:pt x="499147" y="84035"/>
                  <a:pt x="499147" y="74370"/>
                </a:cubicBezTo>
                <a:close/>
                <a:moveTo>
                  <a:pt x="480203" y="71275"/>
                </a:moveTo>
                <a:lnTo>
                  <a:pt x="480203" y="86948"/>
                </a:lnTo>
                <a:cubicBezTo>
                  <a:pt x="480203" y="90469"/>
                  <a:pt x="477324" y="93348"/>
                  <a:pt x="473802" y="93348"/>
                </a:cubicBezTo>
                <a:cubicBezTo>
                  <a:pt x="470280" y="93348"/>
                  <a:pt x="467402" y="90469"/>
                  <a:pt x="467402" y="86948"/>
                </a:cubicBezTo>
                <a:lnTo>
                  <a:pt x="467402" y="73698"/>
                </a:lnTo>
                <a:close/>
                <a:moveTo>
                  <a:pt x="133031" y="59720"/>
                </a:moveTo>
                <a:lnTo>
                  <a:pt x="133031" y="85755"/>
                </a:lnTo>
                <a:cubicBezTo>
                  <a:pt x="133031" y="89278"/>
                  <a:pt x="130153" y="92155"/>
                  <a:pt x="126631" y="92155"/>
                </a:cubicBezTo>
                <a:cubicBezTo>
                  <a:pt x="123110" y="92155"/>
                  <a:pt x="120232" y="89278"/>
                  <a:pt x="120232" y="85755"/>
                </a:cubicBezTo>
                <a:lnTo>
                  <a:pt x="120232" y="76207"/>
                </a:lnTo>
                <a:lnTo>
                  <a:pt x="129467" y="62176"/>
                </a:lnTo>
                <a:close/>
                <a:moveTo>
                  <a:pt x="413671" y="54301"/>
                </a:moveTo>
                <a:lnTo>
                  <a:pt x="422860" y="63727"/>
                </a:lnTo>
                <a:lnTo>
                  <a:pt x="422860" y="74370"/>
                </a:lnTo>
                <a:cubicBezTo>
                  <a:pt x="422860" y="78107"/>
                  <a:pt x="426124" y="81415"/>
                  <a:pt x="430162" y="81759"/>
                </a:cubicBezTo>
                <a:lnTo>
                  <a:pt x="435196" y="76381"/>
                </a:lnTo>
                <a:lnTo>
                  <a:pt x="438004" y="79261"/>
                </a:lnTo>
                <a:lnTo>
                  <a:pt x="447126" y="77535"/>
                </a:lnTo>
                <a:lnTo>
                  <a:pt x="442893" y="87573"/>
                </a:lnTo>
                <a:cubicBezTo>
                  <a:pt x="439473" y="90993"/>
                  <a:pt x="434780" y="93141"/>
                  <a:pt x="429690" y="93141"/>
                </a:cubicBezTo>
                <a:cubicBezTo>
                  <a:pt x="419252" y="92281"/>
                  <a:pt x="411477" y="84035"/>
                  <a:pt x="411477" y="74370"/>
                </a:cubicBezTo>
                <a:lnTo>
                  <a:pt x="411477" y="59594"/>
                </a:lnTo>
                <a:close/>
                <a:moveTo>
                  <a:pt x="345485" y="51572"/>
                </a:moveTo>
                <a:cubicBezTo>
                  <a:pt x="341791" y="51572"/>
                  <a:pt x="338655" y="54708"/>
                  <a:pt x="338655" y="58401"/>
                </a:cubicBezTo>
                <a:lnTo>
                  <a:pt x="338655" y="73178"/>
                </a:lnTo>
                <a:cubicBezTo>
                  <a:pt x="338655" y="76915"/>
                  <a:pt x="341920" y="80222"/>
                  <a:pt x="345958" y="80566"/>
                </a:cubicBezTo>
                <a:cubicBezTo>
                  <a:pt x="348965" y="80566"/>
                  <a:pt x="352874" y="77516"/>
                  <a:pt x="352874" y="73178"/>
                </a:cubicBezTo>
                <a:lnTo>
                  <a:pt x="352874" y="58401"/>
                </a:lnTo>
                <a:cubicBezTo>
                  <a:pt x="352574" y="54837"/>
                  <a:pt x="349223" y="51572"/>
                  <a:pt x="345485" y="51572"/>
                </a:cubicBezTo>
                <a:close/>
                <a:moveTo>
                  <a:pt x="257815" y="51572"/>
                </a:moveTo>
                <a:cubicBezTo>
                  <a:pt x="254121" y="51572"/>
                  <a:pt x="250985" y="54708"/>
                  <a:pt x="250985" y="58401"/>
                </a:cubicBezTo>
                <a:lnTo>
                  <a:pt x="250985" y="73178"/>
                </a:lnTo>
                <a:cubicBezTo>
                  <a:pt x="250985" y="76915"/>
                  <a:pt x="254250" y="80222"/>
                  <a:pt x="258288" y="80566"/>
                </a:cubicBezTo>
                <a:cubicBezTo>
                  <a:pt x="261295" y="80566"/>
                  <a:pt x="265203" y="77516"/>
                  <a:pt x="265203" y="73178"/>
                </a:cubicBezTo>
                <a:lnTo>
                  <a:pt x="265203" y="58401"/>
                </a:lnTo>
                <a:cubicBezTo>
                  <a:pt x="264902" y="54837"/>
                  <a:pt x="261552" y="51572"/>
                  <a:pt x="257815" y="51572"/>
                </a:cubicBezTo>
                <a:close/>
                <a:moveTo>
                  <a:pt x="170187" y="51572"/>
                </a:moveTo>
                <a:cubicBezTo>
                  <a:pt x="166494" y="51572"/>
                  <a:pt x="163358" y="54708"/>
                  <a:pt x="163358" y="58401"/>
                </a:cubicBezTo>
                <a:lnTo>
                  <a:pt x="163358" y="73178"/>
                </a:lnTo>
                <a:cubicBezTo>
                  <a:pt x="163358" y="76915"/>
                  <a:pt x="166622" y="80222"/>
                  <a:pt x="170660" y="80566"/>
                </a:cubicBezTo>
                <a:cubicBezTo>
                  <a:pt x="173666" y="80566"/>
                  <a:pt x="177575" y="77516"/>
                  <a:pt x="177575" y="73178"/>
                </a:cubicBezTo>
                <a:lnTo>
                  <a:pt x="177575" y="58401"/>
                </a:lnTo>
                <a:cubicBezTo>
                  <a:pt x="177275" y="54837"/>
                  <a:pt x="173924" y="51572"/>
                  <a:pt x="170187" y="51572"/>
                </a:cubicBezTo>
                <a:close/>
                <a:moveTo>
                  <a:pt x="386134" y="41759"/>
                </a:moveTo>
                <a:cubicBezTo>
                  <a:pt x="389656" y="41759"/>
                  <a:pt x="392534" y="44637"/>
                  <a:pt x="392534" y="48160"/>
                </a:cubicBezTo>
                <a:lnTo>
                  <a:pt x="392534" y="86948"/>
                </a:lnTo>
                <a:cubicBezTo>
                  <a:pt x="392534" y="90469"/>
                  <a:pt x="389656" y="93348"/>
                  <a:pt x="386134" y="93348"/>
                </a:cubicBezTo>
                <a:cubicBezTo>
                  <a:pt x="382611" y="93348"/>
                  <a:pt x="379733" y="90469"/>
                  <a:pt x="379733" y="86948"/>
                </a:cubicBezTo>
                <a:lnTo>
                  <a:pt x="379733" y="48160"/>
                </a:lnTo>
                <a:cubicBezTo>
                  <a:pt x="379733" y="44637"/>
                  <a:pt x="382611" y="41759"/>
                  <a:pt x="386134" y="41759"/>
                </a:cubicBezTo>
                <a:close/>
                <a:moveTo>
                  <a:pt x="301928" y="40567"/>
                </a:moveTo>
                <a:cubicBezTo>
                  <a:pt x="305450" y="40567"/>
                  <a:pt x="308328" y="43445"/>
                  <a:pt x="308328" y="46968"/>
                </a:cubicBezTo>
                <a:lnTo>
                  <a:pt x="308328" y="85755"/>
                </a:lnTo>
                <a:cubicBezTo>
                  <a:pt x="308371" y="89278"/>
                  <a:pt x="305493" y="92155"/>
                  <a:pt x="301928" y="92155"/>
                </a:cubicBezTo>
                <a:cubicBezTo>
                  <a:pt x="298405" y="92155"/>
                  <a:pt x="295528" y="89278"/>
                  <a:pt x="295528" y="85755"/>
                </a:cubicBezTo>
                <a:lnTo>
                  <a:pt x="295528" y="46968"/>
                </a:lnTo>
                <a:cubicBezTo>
                  <a:pt x="295528" y="43445"/>
                  <a:pt x="298405" y="40567"/>
                  <a:pt x="301928" y="40567"/>
                </a:cubicBezTo>
                <a:close/>
                <a:moveTo>
                  <a:pt x="214300" y="40567"/>
                </a:moveTo>
                <a:cubicBezTo>
                  <a:pt x="217822" y="40567"/>
                  <a:pt x="220700" y="43445"/>
                  <a:pt x="220700" y="46968"/>
                </a:cubicBezTo>
                <a:lnTo>
                  <a:pt x="220700" y="85755"/>
                </a:lnTo>
                <a:cubicBezTo>
                  <a:pt x="220700" y="89278"/>
                  <a:pt x="217822" y="92155"/>
                  <a:pt x="214300" y="92155"/>
                </a:cubicBezTo>
                <a:cubicBezTo>
                  <a:pt x="210778" y="92155"/>
                  <a:pt x="207900" y="89278"/>
                  <a:pt x="207900" y="85755"/>
                </a:cubicBezTo>
                <a:lnTo>
                  <a:pt x="207900" y="46968"/>
                </a:lnTo>
                <a:cubicBezTo>
                  <a:pt x="207900" y="43445"/>
                  <a:pt x="210778" y="40567"/>
                  <a:pt x="214300" y="40567"/>
                </a:cubicBezTo>
                <a:close/>
                <a:moveTo>
                  <a:pt x="345529" y="40189"/>
                </a:moveTo>
                <a:cubicBezTo>
                  <a:pt x="355193" y="40189"/>
                  <a:pt x="363440" y="48007"/>
                  <a:pt x="364257" y="57930"/>
                </a:cubicBezTo>
                <a:lnTo>
                  <a:pt x="364300" y="73178"/>
                </a:lnTo>
                <a:cubicBezTo>
                  <a:pt x="364300" y="83358"/>
                  <a:pt x="355709" y="91949"/>
                  <a:pt x="345529" y="91949"/>
                </a:cubicBezTo>
                <a:cubicBezTo>
                  <a:pt x="335091" y="91090"/>
                  <a:pt x="327316" y="82842"/>
                  <a:pt x="327316" y="73178"/>
                </a:cubicBezTo>
                <a:lnTo>
                  <a:pt x="327316" y="58401"/>
                </a:lnTo>
                <a:cubicBezTo>
                  <a:pt x="327316" y="48351"/>
                  <a:pt x="335477" y="40189"/>
                  <a:pt x="345529" y="40189"/>
                </a:cubicBezTo>
                <a:close/>
                <a:moveTo>
                  <a:pt x="257858" y="40189"/>
                </a:moveTo>
                <a:cubicBezTo>
                  <a:pt x="267523" y="40189"/>
                  <a:pt x="275770" y="48007"/>
                  <a:pt x="276586" y="57930"/>
                </a:cubicBezTo>
                <a:lnTo>
                  <a:pt x="276629" y="73178"/>
                </a:lnTo>
                <a:cubicBezTo>
                  <a:pt x="276629" y="83358"/>
                  <a:pt x="268038" y="91949"/>
                  <a:pt x="257858" y="91949"/>
                </a:cubicBezTo>
                <a:cubicBezTo>
                  <a:pt x="247420" y="91090"/>
                  <a:pt x="239646" y="82842"/>
                  <a:pt x="239646" y="73178"/>
                </a:cubicBezTo>
                <a:lnTo>
                  <a:pt x="239646" y="58401"/>
                </a:lnTo>
                <a:cubicBezTo>
                  <a:pt x="239646" y="48351"/>
                  <a:pt x="247807" y="40189"/>
                  <a:pt x="257858" y="40189"/>
                </a:cubicBezTo>
                <a:close/>
                <a:moveTo>
                  <a:pt x="170187" y="40189"/>
                </a:moveTo>
                <a:cubicBezTo>
                  <a:pt x="179853" y="40189"/>
                  <a:pt x="188099" y="48007"/>
                  <a:pt x="188916" y="57930"/>
                </a:cubicBezTo>
                <a:lnTo>
                  <a:pt x="188958" y="73178"/>
                </a:lnTo>
                <a:cubicBezTo>
                  <a:pt x="188958" y="83358"/>
                  <a:pt x="180368" y="91949"/>
                  <a:pt x="170187" y="91949"/>
                </a:cubicBezTo>
                <a:cubicBezTo>
                  <a:pt x="159750" y="91090"/>
                  <a:pt x="151975" y="82842"/>
                  <a:pt x="151975" y="73178"/>
                </a:cubicBezTo>
                <a:lnTo>
                  <a:pt x="151975" y="58401"/>
                </a:lnTo>
                <a:cubicBezTo>
                  <a:pt x="151975" y="48351"/>
                  <a:pt x="160137" y="40189"/>
                  <a:pt x="170187" y="40189"/>
                </a:cubicBezTo>
                <a:close/>
                <a:moveTo>
                  <a:pt x="188915" y="21208"/>
                </a:moveTo>
                <a:lnTo>
                  <a:pt x="188915" y="21358"/>
                </a:lnTo>
                <a:cubicBezTo>
                  <a:pt x="188915" y="24880"/>
                  <a:pt x="186037" y="27758"/>
                  <a:pt x="182514" y="27758"/>
                </a:cubicBezTo>
                <a:lnTo>
                  <a:pt x="181248" y="26492"/>
                </a:lnTo>
                <a:close/>
                <a:moveTo>
                  <a:pt x="351455" y="15543"/>
                </a:moveTo>
                <a:lnTo>
                  <a:pt x="364256" y="20197"/>
                </a:lnTo>
                <a:lnTo>
                  <a:pt x="364256" y="21358"/>
                </a:lnTo>
                <a:cubicBezTo>
                  <a:pt x="364256" y="24880"/>
                  <a:pt x="361378" y="27758"/>
                  <a:pt x="357855" y="27758"/>
                </a:cubicBezTo>
                <a:cubicBezTo>
                  <a:pt x="354333" y="27758"/>
                  <a:pt x="351455" y="24880"/>
                  <a:pt x="351455" y="21358"/>
                </a:cubicBezTo>
                <a:close/>
                <a:moveTo>
                  <a:pt x="244844" y="3245"/>
                </a:moveTo>
                <a:lnTo>
                  <a:pt x="244844" y="9936"/>
                </a:lnTo>
                <a:cubicBezTo>
                  <a:pt x="244844" y="19987"/>
                  <a:pt x="236683" y="28149"/>
                  <a:pt x="226631" y="28149"/>
                </a:cubicBezTo>
                <a:cubicBezTo>
                  <a:pt x="221799" y="28149"/>
                  <a:pt x="217321" y="26194"/>
                  <a:pt x="213949" y="23000"/>
                </a:cubicBezTo>
                <a:lnTo>
                  <a:pt x="208874" y="12430"/>
                </a:lnTo>
                <a:lnTo>
                  <a:pt x="219242" y="9145"/>
                </a:lnTo>
                <a:lnTo>
                  <a:pt x="219242" y="9936"/>
                </a:lnTo>
                <a:cubicBezTo>
                  <a:pt x="219544" y="13501"/>
                  <a:pt x="222894" y="16766"/>
                  <a:pt x="226631" y="16766"/>
                </a:cubicBezTo>
                <a:cubicBezTo>
                  <a:pt x="230325" y="16766"/>
                  <a:pt x="233461" y="13630"/>
                  <a:pt x="233461" y="9936"/>
                </a:cubicBezTo>
                <a:lnTo>
                  <a:pt x="233461" y="4641"/>
                </a:lnTo>
                <a:lnTo>
                  <a:pt x="234515" y="4307"/>
                </a:lnTo>
                <a:close/>
                <a:moveTo>
                  <a:pt x="295548" y="2231"/>
                </a:moveTo>
                <a:lnTo>
                  <a:pt x="306911" y="3555"/>
                </a:lnTo>
                <a:lnTo>
                  <a:pt x="306911" y="9936"/>
                </a:lnTo>
                <a:cubicBezTo>
                  <a:pt x="307212" y="13501"/>
                  <a:pt x="310562" y="16766"/>
                  <a:pt x="314299" y="16766"/>
                </a:cubicBezTo>
                <a:cubicBezTo>
                  <a:pt x="317993" y="16766"/>
                  <a:pt x="321128" y="13630"/>
                  <a:pt x="321128" y="9936"/>
                </a:cubicBezTo>
                <a:lnTo>
                  <a:pt x="321128" y="5211"/>
                </a:lnTo>
                <a:lnTo>
                  <a:pt x="323940" y="5539"/>
                </a:lnTo>
                <a:lnTo>
                  <a:pt x="332511" y="8655"/>
                </a:lnTo>
                <a:lnTo>
                  <a:pt x="332511" y="9936"/>
                </a:lnTo>
                <a:cubicBezTo>
                  <a:pt x="332511" y="19987"/>
                  <a:pt x="324350" y="28149"/>
                  <a:pt x="314299" y="28149"/>
                </a:cubicBezTo>
                <a:cubicBezTo>
                  <a:pt x="304633" y="28149"/>
                  <a:pt x="296387" y="20331"/>
                  <a:pt x="295570" y="10409"/>
                </a:cubicBezTo>
                <a:close/>
                <a:moveTo>
                  <a:pt x="276404" y="0"/>
                </a:moveTo>
                <a:lnTo>
                  <a:pt x="276586" y="21"/>
                </a:lnTo>
                <a:lnTo>
                  <a:pt x="276586" y="21358"/>
                </a:lnTo>
                <a:cubicBezTo>
                  <a:pt x="276586" y="24880"/>
                  <a:pt x="273708" y="27758"/>
                  <a:pt x="270185" y="27758"/>
                </a:cubicBezTo>
                <a:cubicBezTo>
                  <a:pt x="266663" y="27758"/>
                  <a:pt x="263785" y="24880"/>
                  <a:pt x="263785" y="21358"/>
                </a:cubicBezTo>
                <a:lnTo>
                  <a:pt x="263785" y="1297"/>
                </a:lnTo>
                <a:close/>
              </a:path>
            </a:pathLst>
          </a:custGeom>
          <a:solidFill>
            <a:schemeClr val="accent1">
              <a:lumMod val="90000"/>
            </a:schemeClr>
          </a:solidFill>
          <a:ln w="9719" cap="flat">
            <a:noFill/>
            <a:prstDash val="solid"/>
            <a:miter/>
          </a:ln>
        </p:spPr>
        <p:txBody>
          <a:bodyPr wrap="square" rtlCol="0" anchor="ctr">
            <a:noAutofit/>
          </a:bodyPr>
          <a:lstStyle/>
          <a:p>
            <a:pPr defTabSz="914367">
              <a:defRPr/>
            </a:pPr>
            <a:endParaRPr lang="en-US" sz="1765" dirty="0">
              <a:solidFill>
                <a:srgbClr val="000000"/>
              </a:solidFill>
              <a:latin typeface="Segoe UI"/>
            </a:endParaRPr>
          </a:p>
        </p:txBody>
      </p:sp>
      <p:sp>
        <p:nvSpPr>
          <p:cNvPr id="83" name="Freeform 7">
            <a:extLst>
              <a:ext uri="{FF2B5EF4-FFF2-40B4-BE49-F238E27FC236}">
                <a16:creationId xmlns:a16="http://schemas.microsoft.com/office/drawing/2014/main" id="{FB7DD7F2-E913-43C8-A233-4BCD5499CCBB}"/>
              </a:ext>
            </a:extLst>
          </p:cNvPr>
          <p:cNvSpPr>
            <a:spLocks/>
          </p:cNvSpPr>
          <p:nvPr/>
        </p:nvSpPr>
        <p:spPr bwMode="auto">
          <a:xfrm>
            <a:off x="7398231" y="3253355"/>
            <a:ext cx="678344" cy="417270"/>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noFill/>
          <a:ln w="19050" cap="flat">
            <a:solidFill>
              <a:schemeClr val="tx2"/>
            </a:solidFill>
            <a:prstDash val="solid"/>
            <a:miter lim="800000"/>
            <a:headEnd/>
            <a:tailEnd/>
          </a:ln>
        </p:spPr>
        <p:txBody>
          <a:bodyPr vert="horz" wrap="square" lIns="61104" tIns="30551" rIns="61104" bIns="30551" numCol="1" anchor="t" anchorCtr="0" compatLnSpc="1">
            <a:prstTxWarp prst="textNoShape">
              <a:avLst/>
            </a:prstTxWarp>
          </a:bodyPr>
          <a:lstStyle/>
          <a:p>
            <a:pPr algn="ctr" defTabSz="610979">
              <a:defRPr/>
            </a:pPr>
            <a:endParaRPr lang="en-US" sz="1203" kern="0">
              <a:solidFill>
                <a:srgbClr val="353535"/>
              </a:solidFill>
              <a:latin typeface="Segoe UI Semilight"/>
            </a:endParaRPr>
          </a:p>
        </p:txBody>
      </p:sp>
      <p:grpSp>
        <p:nvGrpSpPr>
          <p:cNvPr id="84" name="magnifying glass" descr="magnifying glass, search, statistics">
            <a:extLst>
              <a:ext uri="{FF2B5EF4-FFF2-40B4-BE49-F238E27FC236}">
                <a16:creationId xmlns:a16="http://schemas.microsoft.com/office/drawing/2014/main" id="{0E62D6CA-057D-4A3D-B168-39BBBA4E4257}"/>
              </a:ext>
            </a:extLst>
          </p:cNvPr>
          <p:cNvGrpSpPr/>
          <p:nvPr/>
        </p:nvGrpSpPr>
        <p:grpSpPr>
          <a:xfrm>
            <a:off x="7812620" y="3449320"/>
            <a:ext cx="552393" cy="552393"/>
            <a:chOff x="6342178" y="3062267"/>
            <a:chExt cx="386282" cy="386282"/>
          </a:xfrm>
        </p:grpSpPr>
        <p:sp>
          <p:nvSpPr>
            <p:cNvPr id="85" name="Freeform: Shape 84">
              <a:extLst>
                <a:ext uri="{FF2B5EF4-FFF2-40B4-BE49-F238E27FC236}">
                  <a16:creationId xmlns:a16="http://schemas.microsoft.com/office/drawing/2014/main" id="{F9B45D42-3008-4FF3-9A1F-264CF7D339E1}"/>
                </a:ext>
              </a:extLst>
            </p:cNvPr>
            <p:cNvSpPr/>
            <p:nvPr/>
          </p:nvSpPr>
          <p:spPr>
            <a:xfrm>
              <a:off x="6358556" y="3079220"/>
              <a:ext cx="254866" cy="254866"/>
            </a:xfrm>
            <a:custGeom>
              <a:avLst/>
              <a:gdLst>
                <a:gd name="connsiteX0" fmla="*/ 127983 w 254866"/>
                <a:gd name="connsiteY0" fmla="*/ 254735 h 254866"/>
                <a:gd name="connsiteX1" fmla="*/ 254735 w 254866"/>
                <a:gd name="connsiteY1" fmla="*/ 127983 h 254866"/>
                <a:gd name="connsiteX2" fmla="*/ 127983 w 254866"/>
                <a:gd name="connsiteY2" fmla="*/ 1232 h 254866"/>
                <a:gd name="connsiteX3" fmla="*/ 1232 w 254866"/>
                <a:gd name="connsiteY3" fmla="*/ 127983 h 254866"/>
                <a:gd name="connsiteX4" fmla="*/ 127983 w 254866"/>
                <a:gd name="connsiteY4" fmla="*/ 254735 h 254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866" h="254866">
                  <a:moveTo>
                    <a:pt x="127983" y="254735"/>
                  </a:moveTo>
                  <a:cubicBezTo>
                    <a:pt x="197986" y="254735"/>
                    <a:pt x="254735" y="197986"/>
                    <a:pt x="254735" y="127983"/>
                  </a:cubicBezTo>
                  <a:cubicBezTo>
                    <a:pt x="254735" y="57980"/>
                    <a:pt x="197986" y="1232"/>
                    <a:pt x="127983" y="1232"/>
                  </a:cubicBezTo>
                  <a:cubicBezTo>
                    <a:pt x="57980" y="1232"/>
                    <a:pt x="1232" y="57980"/>
                    <a:pt x="1232" y="127983"/>
                  </a:cubicBezTo>
                  <a:cubicBezTo>
                    <a:pt x="1232" y="197986"/>
                    <a:pt x="57980" y="254735"/>
                    <a:pt x="127983" y="254735"/>
                  </a:cubicBezTo>
                  <a:close/>
                </a:path>
              </a:pathLst>
            </a:custGeom>
            <a:solidFill>
              <a:srgbClr val="F8F7F6"/>
            </a:solidFill>
            <a:ln w="3928" cap="flat">
              <a:noFill/>
              <a:prstDash val="solid"/>
              <a:miter/>
            </a:ln>
          </p:spPr>
          <p:txBody>
            <a:bodyPr rtlCol="0" anchor="ctr"/>
            <a:lstStyle/>
            <a:p>
              <a:pPr defTabSz="914367">
                <a:defRPr/>
              </a:pPr>
              <a:endParaRPr lang="en-US" sz="1765">
                <a:solidFill>
                  <a:srgbClr val="000000"/>
                </a:solidFill>
                <a:latin typeface="Segoe UI"/>
              </a:endParaRPr>
            </a:p>
          </p:txBody>
        </p:sp>
        <p:sp>
          <p:nvSpPr>
            <p:cNvPr id="86" name="Freeform: Shape 85">
              <a:extLst>
                <a:ext uri="{FF2B5EF4-FFF2-40B4-BE49-F238E27FC236}">
                  <a16:creationId xmlns:a16="http://schemas.microsoft.com/office/drawing/2014/main" id="{D25651E8-B108-40A3-BFF4-67A714B1A656}"/>
                </a:ext>
              </a:extLst>
            </p:cNvPr>
            <p:cNvSpPr/>
            <p:nvPr/>
          </p:nvSpPr>
          <p:spPr>
            <a:xfrm>
              <a:off x="6345290" y="3066371"/>
              <a:ext cx="374335" cy="378317"/>
            </a:xfrm>
            <a:custGeom>
              <a:avLst/>
              <a:gdLst>
                <a:gd name="connsiteX0" fmla="*/ 376949 w 374335"/>
                <a:gd name="connsiteY0" fmla="*/ 350958 h 378317"/>
                <a:gd name="connsiteX1" fmla="*/ 251954 w 374335"/>
                <a:gd name="connsiteY1" fmla="*/ 225985 h 378317"/>
                <a:gd name="connsiteX2" fmla="*/ 280809 w 374335"/>
                <a:gd name="connsiteY2" fmla="*/ 140963 h 378317"/>
                <a:gd name="connsiteX3" fmla="*/ 140987 w 374335"/>
                <a:gd name="connsiteY3" fmla="*/ 1232 h 378317"/>
                <a:gd name="connsiteX4" fmla="*/ 1232 w 374335"/>
                <a:gd name="connsiteY4" fmla="*/ 140963 h 378317"/>
                <a:gd name="connsiteX5" fmla="*/ 140987 w 374335"/>
                <a:gd name="connsiteY5" fmla="*/ 280694 h 378317"/>
                <a:gd name="connsiteX6" fmla="*/ 223763 w 374335"/>
                <a:gd name="connsiteY6" fmla="*/ 253572 h 378317"/>
                <a:gd name="connsiteX7" fmla="*/ 349025 w 374335"/>
                <a:gd name="connsiteY7" fmla="*/ 378811 h 378317"/>
                <a:gd name="connsiteX8" fmla="*/ 376949 w 374335"/>
                <a:gd name="connsiteY8" fmla="*/ 350958 h 378317"/>
                <a:gd name="connsiteX9" fmla="*/ 41390 w 374335"/>
                <a:gd name="connsiteY9" fmla="*/ 140963 h 378317"/>
                <a:gd name="connsiteX10" fmla="*/ 141054 w 374335"/>
                <a:gd name="connsiteY10" fmla="*/ 41316 h 378317"/>
                <a:gd name="connsiteX11" fmla="*/ 240718 w 374335"/>
                <a:gd name="connsiteY11" fmla="*/ 140963 h 378317"/>
                <a:gd name="connsiteX12" fmla="*/ 140987 w 374335"/>
                <a:gd name="connsiteY12" fmla="*/ 240609 h 378317"/>
                <a:gd name="connsiteX13" fmla="*/ 41390 w 374335"/>
                <a:gd name="connsiteY13" fmla="*/ 140963 h 37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4335" h="378317">
                  <a:moveTo>
                    <a:pt x="376949" y="350958"/>
                  </a:moveTo>
                  <a:lnTo>
                    <a:pt x="251954" y="225985"/>
                  </a:lnTo>
                  <a:cubicBezTo>
                    <a:pt x="270038" y="202453"/>
                    <a:pt x="280809" y="172937"/>
                    <a:pt x="280809" y="140963"/>
                  </a:cubicBezTo>
                  <a:cubicBezTo>
                    <a:pt x="280809" y="63785"/>
                    <a:pt x="218178" y="1232"/>
                    <a:pt x="140987" y="1232"/>
                  </a:cubicBezTo>
                  <a:cubicBezTo>
                    <a:pt x="63796" y="1232"/>
                    <a:pt x="1232" y="63785"/>
                    <a:pt x="1232" y="140963"/>
                  </a:cubicBezTo>
                  <a:cubicBezTo>
                    <a:pt x="1232" y="218140"/>
                    <a:pt x="63796" y="280694"/>
                    <a:pt x="140987" y="280694"/>
                  </a:cubicBezTo>
                  <a:cubicBezTo>
                    <a:pt x="171970" y="280694"/>
                    <a:pt x="200559" y="270590"/>
                    <a:pt x="223763" y="253572"/>
                  </a:cubicBezTo>
                  <a:lnTo>
                    <a:pt x="349025" y="378811"/>
                  </a:lnTo>
                  <a:lnTo>
                    <a:pt x="376949" y="350958"/>
                  </a:lnTo>
                  <a:close/>
                  <a:moveTo>
                    <a:pt x="41390" y="140963"/>
                  </a:moveTo>
                  <a:cubicBezTo>
                    <a:pt x="41390" y="85921"/>
                    <a:pt x="86003" y="41316"/>
                    <a:pt x="141054" y="41316"/>
                  </a:cubicBezTo>
                  <a:cubicBezTo>
                    <a:pt x="196105" y="41316"/>
                    <a:pt x="240718" y="85921"/>
                    <a:pt x="240718" y="140963"/>
                  </a:cubicBezTo>
                  <a:cubicBezTo>
                    <a:pt x="240718" y="196004"/>
                    <a:pt x="196038" y="240609"/>
                    <a:pt x="140987" y="240609"/>
                  </a:cubicBezTo>
                  <a:cubicBezTo>
                    <a:pt x="86003" y="240609"/>
                    <a:pt x="41390" y="196004"/>
                    <a:pt x="41390" y="140963"/>
                  </a:cubicBezTo>
                  <a:close/>
                </a:path>
              </a:pathLst>
            </a:custGeom>
            <a:solidFill>
              <a:srgbClr val="0078D4"/>
            </a:solidFill>
            <a:ln w="3928" cap="flat">
              <a:noFill/>
              <a:prstDash val="solid"/>
              <a:miter/>
            </a:ln>
          </p:spPr>
          <p:txBody>
            <a:bodyPr rtlCol="0" anchor="ctr"/>
            <a:lstStyle/>
            <a:p>
              <a:pPr defTabSz="914367">
                <a:defRPr/>
              </a:pPr>
              <a:endParaRPr lang="en-US" sz="1765">
                <a:solidFill>
                  <a:srgbClr val="000000"/>
                </a:solidFill>
                <a:latin typeface="Segoe UI"/>
              </a:endParaRPr>
            </a:p>
          </p:txBody>
        </p:sp>
        <p:sp>
          <p:nvSpPr>
            <p:cNvPr id="87" name="Freeform: Shape 86">
              <a:extLst>
                <a:ext uri="{FF2B5EF4-FFF2-40B4-BE49-F238E27FC236}">
                  <a16:creationId xmlns:a16="http://schemas.microsoft.com/office/drawing/2014/main" id="{84B61A0D-1AD3-41C2-B5AC-630FDE257A2A}"/>
                </a:ext>
              </a:extLst>
            </p:cNvPr>
            <p:cNvSpPr/>
            <p:nvPr/>
          </p:nvSpPr>
          <p:spPr>
            <a:xfrm>
              <a:off x="6435779" y="3146281"/>
              <a:ext cx="19911" cy="119469"/>
            </a:xfrm>
            <a:custGeom>
              <a:avLst/>
              <a:gdLst>
                <a:gd name="connsiteX0" fmla="*/ 20513 w 19911"/>
                <a:gd name="connsiteY0" fmla="*/ 1232 h 119468"/>
                <a:gd name="connsiteX1" fmla="*/ 1232 w 19911"/>
                <a:gd name="connsiteY1" fmla="*/ 1232 h 119468"/>
                <a:gd name="connsiteX2" fmla="*/ 1232 w 19911"/>
                <a:gd name="connsiteY2" fmla="*/ 120621 h 119468"/>
                <a:gd name="connsiteX3" fmla="*/ 20513 w 19911"/>
                <a:gd name="connsiteY3" fmla="*/ 120621 h 119468"/>
                <a:gd name="connsiteX4" fmla="*/ 20513 w 19911"/>
                <a:gd name="connsiteY4" fmla="*/ 1232 h 119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11" h="119468">
                  <a:moveTo>
                    <a:pt x="20513" y="1232"/>
                  </a:moveTo>
                  <a:lnTo>
                    <a:pt x="1232" y="1232"/>
                  </a:lnTo>
                  <a:lnTo>
                    <a:pt x="1232" y="120621"/>
                  </a:lnTo>
                  <a:lnTo>
                    <a:pt x="20513" y="120621"/>
                  </a:lnTo>
                  <a:lnTo>
                    <a:pt x="20513" y="1232"/>
                  </a:lnTo>
                  <a:close/>
                </a:path>
              </a:pathLst>
            </a:custGeom>
            <a:solidFill>
              <a:srgbClr val="0078D4"/>
            </a:solidFill>
            <a:ln w="3928" cap="flat">
              <a:noFill/>
              <a:prstDash val="solid"/>
              <a:miter/>
            </a:ln>
          </p:spPr>
          <p:txBody>
            <a:bodyPr rtlCol="0" anchor="ctr"/>
            <a:lstStyle/>
            <a:p>
              <a:pPr defTabSz="914367">
                <a:defRPr/>
              </a:pPr>
              <a:endParaRPr lang="en-US" sz="1765">
                <a:solidFill>
                  <a:srgbClr val="000000"/>
                </a:solidFill>
                <a:latin typeface="Segoe UI"/>
              </a:endParaRPr>
            </a:p>
          </p:txBody>
        </p:sp>
        <p:sp>
          <p:nvSpPr>
            <p:cNvPr id="88" name="Freeform: Shape 87">
              <a:extLst>
                <a:ext uri="{FF2B5EF4-FFF2-40B4-BE49-F238E27FC236}">
                  <a16:creationId xmlns:a16="http://schemas.microsoft.com/office/drawing/2014/main" id="{E17689ED-83CC-4E24-A696-E5168ABB0B55}"/>
                </a:ext>
              </a:extLst>
            </p:cNvPr>
            <p:cNvSpPr/>
            <p:nvPr/>
          </p:nvSpPr>
          <p:spPr>
            <a:xfrm>
              <a:off x="6475668" y="3186820"/>
              <a:ext cx="19911" cy="79646"/>
            </a:xfrm>
            <a:custGeom>
              <a:avLst/>
              <a:gdLst>
                <a:gd name="connsiteX0" fmla="*/ 20513 w 19911"/>
                <a:gd name="connsiteY0" fmla="*/ 1232 h 79645"/>
                <a:gd name="connsiteX1" fmla="*/ 1232 w 19911"/>
                <a:gd name="connsiteY1" fmla="*/ 1232 h 79645"/>
                <a:gd name="connsiteX2" fmla="*/ 1232 w 19911"/>
                <a:gd name="connsiteY2" fmla="*/ 80071 h 79645"/>
                <a:gd name="connsiteX3" fmla="*/ 20513 w 19911"/>
                <a:gd name="connsiteY3" fmla="*/ 80071 h 79645"/>
                <a:gd name="connsiteX4" fmla="*/ 20513 w 19911"/>
                <a:gd name="connsiteY4" fmla="*/ 1232 h 79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11" h="79645">
                  <a:moveTo>
                    <a:pt x="20513" y="1232"/>
                  </a:moveTo>
                  <a:lnTo>
                    <a:pt x="1232" y="1232"/>
                  </a:lnTo>
                  <a:lnTo>
                    <a:pt x="1232" y="80071"/>
                  </a:lnTo>
                  <a:lnTo>
                    <a:pt x="20513" y="80071"/>
                  </a:lnTo>
                  <a:lnTo>
                    <a:pt x="20513" y="1232"/>
                  </a:lnTo>
                  <a:close/>
                </a:path>
              </a:pathLst>
            </a:custGeom>
            <a:solidFill>
              <a:srgbClr val="50E6FF"/>
            </a:solidFill>
            <a:ln w="3928" cap="flat">
              <a:noFill/>
              <a:prstDash val="solid"/>
              <a:miter/>
            </a:ln>
          </p:spPr>
          <p:txBody>
            <a:bodyPr rtlCol="0" anchor="ctr"/>
            <a:lstStyle/>
            <a:p>
              <a:pPr defTabSz="914367">
                <a:defRPr/>
              </a:pPr>
              <a:endParaRPr lang="en-US" sz="1765">
                <a:solidFill>
                  <a:srgbClr val="000000"/>
                </a:solidFill>
                <a:latin typeface="Segoe UI"/>
              </a:endParaRPr>
            </a:p>
          </p:txBody>
        </p:sp>
        <p:sp>
          <p:nvSpPr>
            <p:cNvPr id="89" name="Freeform: Shape 88">
              <a:extLst>
                <a:ext uri="{FF2B5EF4-FFF2-40B4-BE49-F238E27FC236}">
                  <a16:creationId xmlns:a16="http://schemas.microsoft.com/office/drawing/2014/main" id="{2B8415AA-B509-4381-9FB9-04E18276731A}"/>
                </a:ext>
              </a:extLst>
            </p:cNvPr>
            <p:cNvSpPr/>
            <p:nvPr/>
          </p:nvSpPr>
          <p:spPr>
            <a:xfrm>
              <a:off x="6516093" y="3226907"/>
              <a:ext cx="19911" cy="39823"/>
            </a:xfrm>
            <a:custGeom>
              <a:avLst/>
              <a:gdLst>
                <a:gd name="connsiteX0" fmla="*/ 20513 w 19911"/>
                <a:gd name="connsiteY0" fmla="*/ 1232 h 39822"/>
                <a:gd name="connsiteX1" fmla="*/ 1232 w 19911"/>
                <a:gd name="connsiteY1" fmla="*/ 1232 h 39822"/>
                <a:gd name="connsiteX2" fmla="*/ 1232 w 19911"/>
                <a:gd name="connsiteY2" fmla="*/ 39987 h 39822"/>
                <a:gd name="connsiteX3" fmla="*/ 20513 w 19911"/>
                <a:gd name="connsiteY3" fmla="*/ 39987 h 39822"/>
                <a:gd name="connsiteX4" fmla="*/ 20513 w 19911"/>
                <a:gd name="connsiteY4" fmla="*/ 1232 h 39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11" h="39822">
                  <a:moveTo>
                    <a:pt x="20513" y="1232"/>
                  </a:moveTo>
                  <a:lnTo>
                    <a:pt x="1232" y="1232"/>
                  </a:lnTo>
                  <a:lnTo>
                    <a:pt x="1232" y="39987"/>
                  </a:lnTo>
                  <a:lnTo>
                    <a:pt x="20513" y="39987"/>
                  </a:lnTo>
                  <a:lnTo>
                    <a:pt x="20513" y="1232"/>
                  </a:lnTo>
                  <a:close/>
                </a:path>
              </a:pathLst>
            </a:custGeom>
            <a:solidFill>
              <a:srgbClr val="50E6FF"/>
            </a:solidFill>
            <a:ln w="3928" cap="flat">
              <a:noFill/>
              <a:prstDash val="solid"/>
              <a:miter/>
            </a:ln>
          </p:spPr>
          <p:txBody>
            <a:bodyPr rtlCol="0" anchor="ctr"/>
            <a:lstStyle/>
            <a:p>
              <a:pPr defTabSz="914367">
                <a:defRPr/>
              </a:pPr>
              <a:endParaRPr lang="en-US" sz="1765">
                <a:solidFill>
                  <a:srgbClr val="000000"/>
                </a:solidFill>
                <a:latin typeface="Segoe UI"/>
              </a:endParaRPr>
            </a:p>
          </p:txBody>
        </p:sp>
      </p:grpSp>
      <p:cxnSp>
        <p:nvCxnSpPr>
          <p:cNvPr id="51" name="Straight Arrow Connector 50">
            <a:extLst>
              <a:ext uri="{FF2B5EF4-FFF2-40B4-BE49-F238E27FC236}">
                <a16:creationId xmlns:a16="http://schemas.microsoft.com/office/drawing/2014/main" id="{A281E9FB-48B1-44A2-8CED-AF765FB1F05F}"/>
              </a:ext>
            </a:extLst>
          </p:cNvPr>
          <p:cNvCxnSpPr>
            <a:cxnSpLocks/>
          </p:cNvCxnSpPr>
          <p:nvPr/>
        </p:nvCxnSpPr>
        <p:spPr>
          <a:xfrm flipH="1">
            <a:off x="6421539" y="3629655"/>
            <a:ext cx="670559" cy="0"/>
          </a:xfrm>
          <a:prstGeom prst="straightConnector1">
            <a:avLst/>
          </a:prstGeom>
          <a:ln w="28575">
            <a:solidFill>
              <a:srgbClr val="1199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943EE777-AE81-48ED-9A1D-EE2C968AB55C}"/>
              </a:ext>
            </a:extLst>
          </p:cNvPr>
          <p:cNvCxnSpPr>
            <a:cxnSpLocks/>
          </p:cNvCxnSpPr>
          <p:nvPr/>
        </p:nvCxnSpPr>
        <p:spPr>
          <a:xfrm flipH="1">
            <a:off x="8454033" y="3637886"/>
            <a:ext cx="670559" cy="0"/>
          </a:xfrm>
          <a:prstGeom prst="straightConnector1">
            <a:avLst/>
          </a:prstGeom>
          <a:ln w="28575">
            <a:solidFill>
              <a:srgbClr val="1199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04EC9F51-284F-4AD3-9BBA-E4E1C846C086}"/>
              </a:ext>
            </a:extLst>
          </p:cNvPr>
          <p:cNvSpPr/>
          <p:nvPr/>
        </p:nvSpPr>
        <p:spPr>
          <a:xfrm flipH="1">
            <a:off x="9573267" y="4165815"/>
            <a:ext cx="1545887" cy="1231106"/>
          </a:xfrm>
          <a:prstGeom prst="rect">
            <a:avLst/>
          </a:prstGeom>
          <a:noFill/>
        </p:spPr>
        <p:txBody>
          <a:bodyPr wrap="square" lIns="0" tIns="0" rIns="0" bIns="0" anchor="ctr">
            <a:spAutoFit/>
          </a:bodyPr>
          <a:lstStyle/>
          <a:p>
            <a:pPr algn="ctr" defTabSz="950878">
              <a:defRPr/>
            </a:pPr>
            <a:r>
              <a:rPr lang="en-US" sz="1600" u="sng" dirty="0">
                <a:latin typeface="Segoe UI Semibold" panose="020B0702040204020203" pitchFamily="34" charset="0"/>
                <a:cs typeface="Segoe UI Semibold" panose="020B0702040204020203" pitchFamily="34" charset="0"/>
              </a:rPr>
              <a:t>Action</a:t>
            </a:r>
          </a:p>
          <a:p>
            <a:pPr algn="ctr" defTabSz="950878">
              <a:defRPr/>
            </a:pPr>
            <a:r>
              <a:rPr lang="en-US" sz="1600" i="1" dirty="0">
                <a:latin typeface="Segoe UI Semibold" panose="020B0702040204020203" pitchFamily="34" charset="0"/>
                <a:cs typeface="Segoe UI Semibold" panose="020B0702040204020203" pitchFamily="34" charset="0"/>
              </a:rPr>
              <a:t>Decision to retire and replace certain devices</a:t>
            </a:r>
          </a:p>
        </p:txBody>
      </p:sp>
      <p:sp>
        <p:nvSpPr>
          <p:cNvPr id="99" name="Freeform: Shape 98">
            <a:extLst>
              <a:ext uri="{FF2B5EF4-FFF2-40B4-BE49-F238E27FC236}">
                <a16:creationId xmlns:a16="http://schemas.microsoft.com/office/drawing/2014/main" id="{05A0CD19-323A-446E-9681-6DA854AA00BD}"/>
              </a:ext>
            </a:extLst>
          </p:cNvPr>
          <p:cNvSpPr/>
          <p:nvPr/>
        </p:nvSpPr>
        <p:spPr bwMode="auto">
          <a:xfrm>
            <a:off x="2769335" y="4970250"/>
            <a:ext cx="8423147" cy="1227480"/>
          </a:xfrm>
          <a:custGeom>
            <a:avLst/>
            <a:gdLst>
              <a:gd name="connsiteX0" fmla="*/ 7644665 w 8423147"/>
              <a:gd name="connsiteY0" fmla="*/ 69110 h 1227480"/>
              <a:gd name="connsiteX1" fmla="*/ 7705625 w 8423147"/>
              <a:gd name="connsiteY1" fmla="*/ 1227350 h 1227480"/>
              <a:gd name="connsiteX2" fmla="*/ 44985 w 8423147"/>
              <a:gd name="connsiteY2" fmla="*/ 8150 h 1227480"/>
              <a:gd name="connsiteX3" fmla="*/ 5114825 w 8423147"/>
              <a:gd name="connsiteY3" fmla="*/ 790470 h 1227480"/>
            </a:gdLst>
            <a:ahLst/>
            <a:cxnLst>
              <a:cxn ang="0">
                <a:pos x="connsiteX0" y="connsiteY0"/>
              </a:cxn>
              <a:cxn ang="0">
                <a:pos x="connsiteX1" y="connsiteY1"/>
              </a:cxn>
              <a:cxn ang="0">
                <a:pos x="connsiteX2" y="connsiteY2"/>
              </a:cxn>
              <a:cxn ang="0">
                <a:pos x="connsiteX3" y="connsiteY3"/>
              </a:cxn>
            </a:cxnLst>
            <a:rect l="l" t="t" r="r" b="b"/>
            <a:pathLst>
              <a:path w="8423147" h="1227480">
                <a:moveTo>
                  <a:pt x="7644665" y="69110"/>
                </a:moveTo>
                <a:cubicBezTo>
                  <a:pt x="8308451" y="653310"/>
                  <a:pt x="8972238" y="1237510"/>
                  <a:pt x="7705625" y="1227350"/>
                </a:cubicBezTo>
                <a:cubicBezTo>
                  <a:pt x="6439012" y="1217190"/>
                  <a:pt x="476785" y="80963"/>
                  <a:pt x="44985" y="8150"/>
                </a:cubicBezTo>
                <a:cubicBezTo>
                  <a:pt x="-386815" y="-64663"/>
                  <a:pt x="2364005" y="362903"/>
                  <a:pt x="5114825" y="79047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101" name="Connector: Elbow 100">
            <a:extLst>
              <a:ext uri="{FF2B5EF4-FFF2-40B4-BE49-F238E27FC236}">
                <a16:creationId xmlns:a16="http://schemas.microsoft.com/office/drawing/2014/main" id="{DAF20007-C3EC-407B-BB44-0E6B95C57282}"/>
              </a:ext>
            </a:extLst>
          </p:cNvPr>
          <p:cNvCxnSpPr>
            <a:cxnSpLocks/>
            <a:stCxn id="10" idx="2"/>
          </p:cNvCxnSpPr>
          <p:nvPr/>
        </p:nvCxnSpPr>
        <p:spPr>
          <a:xfrm rot="5400000" flipH="1" flipV="1">
            <a:off x="5713380" y="932206"/>
            <a:ext cx="2477823" cy="8122296"/>
          </a:xfrm>
          <a:prstGeom prst="bentConnector4">
            <a:avLst>
              <a:gd name="adj1" fmla="val -9226"/>
              <a:gd name="adj2" fmla="val 108921"/>
            </a:avLst>
          </a:prstGeom>
          <a:ln w="28575">
            <a:solidFill>
              <a:srgbClr val="FFC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EAB93651-D20F-4D2A-8CE2-03311540932C}"/>
              </a:ext>
            </a:extLst>
          </p:cNvPr>
          <p:cNvSpPr txBox="1"/>
          <p:nvPr/>
        </p:nvSpPr>
        <p:spPr>
          <a:xfrm>
            <a:off x="7960708" y="167701"/>
            <a:ext cx="6219824" cy="369332"/>
          </a:xfrm>
          <a:prstGeom prst="rect">
            <a:avLst/>
          </a:prstGeom>
          <a:noFill/>
        </p:spPr>
        <p:txBody>
          <a:bodyPr wrap="square">
            <a:spAutoFit/>
          </a:bodyPr>
          <a:lstStyle/>
          <a:p>
            <a:r>
              <a:rPr lang="en-US" dirty="0"/>
              <a:t>https://aka.ms/get-started-azure-2021</a:t>
            </a:r>
          </a:p>
        </p:txBody>
      </p:sp>
      <p:sp>
        <p:nvSpPr>
          <p:cNvPr id="114" name="TextBox 113">
            <a:extLst>
              <a:ext uri="{FF2B5EF4-FFF2-40B4-BE49-F238E27FC236}">
                <a16:creationId xmlns:a16="http://schemas.microsoft.com/office/drawing/2014/main" id="{8D524D60-1C5F-4151-A6B5-A8E2247227AD}"/>
              </a:ext>
            </a:extLst>
          </p:cNvPr>
          <p:cNvSpPr txBox="1"/>
          <p:nvPr/>
        </p:nvSpPr>
        <p:spPr>
          <a:xfrm>
            <a:off x="7700537" y="152271"/>
            <a:ext cx="4505325" cy="369332"/>
          </a:xfrm>
          <a:prstGeom prst="rect">
            <a:avLst/>
          </a:prstGeom>
          <a:solidFill>
            <a:srgbClr val="FFC000"/>
          </a:solidFill>
        </p:spPr>
        <p:txBody>
          <a:bodyPr wrap="square">
            <a:spAutoFit/>
          </a:bodyPr>
          <a:lstStyle/>
          <a:p>
            <a:r>
              <a:rPr lang="en-US" b="1" dirty="0">
                <a:solidFill>
                  <a:schemeClr val="bg1"/>
                </a:solidFill>
                <a:latin typeface="+mj-lt"/>
              </a:rPr>
              <a:t>https://aka.ms/get-started-azure-2021</a:t>
            </a:r>
          </a:p>
        </p:txBody>
      </p:sp>
    </p:spTree>
    <p:extLst>
      <p:ext uri="{BB962C8B-B14F-4D97-AF65-F5344CB8AC3E}">
        <p14:creationId xmlns:p14="http://schemas.microsoft.com/office/powerpoint/2010/main" val="11152533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3.33333E-6 -3.33333E-6 L 3.33333E-6 0.01898 " pathEditMode="relative" rAng="0" ptsTypes="AA">
                                      <p:cBhvr>
                                        <p:cTn id="9" dur="700" spd="-100000" fill="hold"/>
                                        <p:tgtEl>
                                          <p:spTgt spid="3"/>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72E3C13-FFE8-4014-BB88-7955570ABE76}"/>
              </a:ext>
            </a:extLst>
          </p:cNvPr>
          <p:cNvSpPr>
            <a:spLocks noGrp="1"/>
          </p:cNvSpPr>
          <p:nvPr>
            <p:ph type="title"/>
          </p:nvPr>
        </p:nvSpPr>
        <p:spPr>
          <a:xfrm>
            <a:off x="455994" y="3154507"/>
            <a:ext cx="7454643" cy="548985"/>
          </a:xfrm>
        </p:spPr>
        <p:txBody>
          <a:bodyPr/>
          <a:lstStyle/>
          <a:p>
            <a:r>
              <a:rPr lang="en-US" sz="4400" dirty="0">
                <a:gradFill>
                  <a:gsLst>
                    <a:gs pos="0">
                      <a:schemeClr val="accent5"/>
                    </a:gs>
                    <a:gs pos="100000">
                      <a:schemeClr val="accent4"/>
                    </a:gs>
                  </a:gsLst>
                  <a:lin ang="2700000" scaled="1"/>
                </a:gradFill>
              </a:rPr>
              <a:t>Resources</a:t>
            </a:r>
          </a:p>
        </p:txBody>
      </p:sp>
    </p:spTree>
    <p:extLst>
      <p:ext uri="{BB962C8B-B14F-4D97-AF65-F5344CB8AC3E}">
        <p14:creationId xmlns:p14="http://schemas.microsoft.com/office/powerpoint/2010/main" val="42773267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0 4.44444E-6 L 0 0.01898 " pathEditMode="relative" rAng="0" ptsTypes="AA">
                                      <p:cBhvr>
                                        <p:cTn id="9" dur="700" spd="-100000" fill="hold"/>
                                        <p:tgtEl>
                                          <p:spTgt spid="3"/>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4" name="Table 9">
            <a:extLst>
              <a:ext uri="{FF2B5EF4-FFF2-40B4-BE49-F238E27FC236}">
                <a16:creationId xmlns:a16="http://schemas.microsoft.com/office/drawing/2014/main" id="{3D060D57-26E7-440C-88B9-1DD2150036EB}"/>
              </a:ext>
            </a:extLst>
          </p:cNvPr>
          <p:cNvGraphicFramePr>
            <a:graphicFrameLocks noGrp="1"/>
          </p:cNvGraphicFramePr>
          <p:nvPr/>
        </p:nvGraphicFramePr>
        <p:xfrm>
          <a:off x="220238" y="924368"/>
          <a:ext cx="11802764" cy="2852522"/>
        </p:xfrm>
        <a:graphic>
          <a:graphicData uri="http://schemas.openxmlformats.org/drawingml/2006/table">
            <a:tbl>
              <a:tblPr firstRow="1" bandRow="1">
                <a:tableStyleId>{2D5ABB26-0587-4C30-8999-92F81FD0307C}</a:tableStyleId>
              </a:tblPr>
              <a:tblGrid>
                <a:gridCol w="2751562">
                  <a:extLst>
                    <a:ext uri="{9D8B030D-6E8A-4147-A177-3AD203B41FA5}">
                      <a16:colId xmlns:a16="http://schemas.microsoft.com/office/drawing/2014/main" val="2577026644"/>
                    </a:ext>
                  </a:extLst>
                </a:gridCol>
                <a:gridCol w="3149820">
                  <a:extLst>
                    <a:ext uri="{9D8B030D-6E8A-4147-A177-3AD203B41FA5}">
                      <a16:colId xmlns:a16="http://schemas.microsoft.com/office/drawing/2014/main" val="1557014971"/>
                    </a:ext>
                  </a:extLst>
                </a:gridCol>
                <a:gridCol w="2950691">
                  <a:extLst>
                    <a:ext uri="{9D8B030D-6E8A-4147-A177-3AD203B41FA5}">
                      <a16:colId xmlns:a16="http://schemas.microsoft.com/office/drawing/2014/main" val="2178097593"/>
                    </a:ext>
                  </a:extLst>
                </a:gridCol>
                <a:gridCol w="2950691">
                  <a:extLst>
                    <a:ext uri="{9D8B030D-6E8A-4147-A177-3AD203B41FA5}">
                      <a16:colId xmlns:a16="http://schemas.microsoft.com/office/drawing/2014/main" val="2760844868"/>
                    </a:ext>
                  </a:extLst>
                </a:gridCol>
              </a:tblGrid>
              <a:tr h="438547">
                <a:tc>
                  <a:txBody>
                    <a:bodyPr/>
                    <a:lstStyle/>
                    <a:p>
                      <a:pPr algn="ctr"/>
                      <a:r>
                        <a:rPr lang="en-US" sz="1800" kern="1200" dirty="0">
                          <a:solidFill>
                            <a:srgbClr val="FFFFFF"/>
                          </a:solidFill>
                          <a:effectLst/>
                        </a:rPr>
                        <a:t>Hands on Learning </a:t>
                      </a:r>
                      <a:endParaRPr lang="en-US" dirty="0"/>
                    </a:p>
                  </a:txBody>
                  <a:tcPr/>
                </a:tc>
                <a:tc>
                  <a:txBody>
                    <a:bodyPr/>
                    <a:lstStyle/>
                    <a:p>
                      <a:pPr algn="ctr"/>
                      <a:r>
                        <a:rPr lang="en-US" sz="1800" dirty="0">
                          <a:solidFill>
                            <a:schemeClr val="tx1"/>
                          </a:solidFill>
                        </a:rPr>
                        <a:t>Watch</a:t>
                      </a:r>
                      <a:endParaRPr lang="en-US" dirty="0">
                        <a:solidFill>
                          <a:schemeClr val="tx1"/>
                        </a:solidFill>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dirty="0">
                          <a:solidFill>
                            <a:prstClr val="white"/>
                          </a:solidFill>
                        </a:rPr>
                        <a:t>Discover and Discuss</a:t>
                      </a:r>
                      <a:endParaRPr lang="en-US" dirty="0">
                        <a:solidFill>
                          <a:prstClr val="white"/>
                        </a:solidFill>
                        <a:latin typeface="Segoe UI Semibold"/>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dirty="0">
                          <a:solidFill>
                            <a:prstClr val="white"/>
                          </a:solidFill>
                        </a:rPr>
                        <a:t>Get Started Building</a:t>
                      </a:r>
                      <a:endParaRPr lang="en-US" dirty="0">
                        <a:solidFill>
                          <a:prstClr val="white"/>
                        </a:solidFill>
                        <a:latin typeface="Segoe UI Semibold"/>
                      </a:endParaRPr>
                    </a:p>
                  </a:txBody>
                  <a:tcPr/>
                </a:tc>
                <a:extLst>
                  <a:ext uri="{0D108BD9-81ED-4DB2-BD59-A6C34878D82A}">
                    <a16:rowId xmlns:a16="http://schemas.microsoft.com/office/drawing/2014/main" val="4130269991"/>
                  </a:ext>
                </a:extLst>
              </a:tr>
              <a:tr h="617429">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2000" dirty="0">
                          <a:solidFill>
                            <a:srgbClr val="00B0F0"/>
                          </a:solidFill>
                        </a:rPr>
                        <a:t>Microsoft Learn</a:t>
                      </a:r>
                      <a:endParaRPr lang="en-US" sz="2000" dirty="0">
                        <a:solidFill>
                          <a:srgbClr val="00B0F0"/>
                        </a:solidFill>
                        <a:latin typeface="Segoe UI Semibold"/>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2000" dirty="0">
                          <a:solidFill>
                            <a:srgbClr val="00B0F0"/>
                          </a:solidFill>
                        </a:rPr>
                        <a:t>Microsoft IoT Developers Channel </a:t>
                      </a:r>
                      <a:endParaRPr lang="en-US" sz="2000" dirty="0">
                        <a:solidFill>
                          <a:srgbClr val="00B0F0"/>
                        </a:solidFill>
                        <a:latin typeface="Segoe UI"/>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2000" dirty="0">
                          <a:solidFill>
                            <a:srgbClr val="00B0F0"/>
                          </a:solidFill>
                        </a:rPr>
                        <a:t>IoT Tech Community</a:t>
                      </a:r>
                      <a:endParaRPr lang="en-US" sz="2000" dirty="0">
                        <a:solidFill>
                          <a:srgbClr val="00B0F0"/>
                        </a:solidFill>
                        <a:latin typeface="Segoe UI"/>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2000" dirty="0">
                          <a:solidFill>
                            <a:srgbClr val="00B0F0"/>
                          </a:solidFill>
                        </a:rPr>
                        <a:t>Azure IoT Docs</a:t>
                      </a:r>
                      <a:endParaRPr lang="en-US" sz="2000" dirty="0">
                        <a:solidFill>
                          <a:srgbClr val="00B0F0"/>
                        </a:solidFill>
                        <a:latin typeface="Segoe UI"/>
                      </a:endParaRPr>
                    </a:p>
                  </a:txBody>
                  <a:tcPr/>
                </a:tc>
                <a:extLst>
                  <a:ext uri="{0D108BD9-81ED-4DB2-BD59-A6C34878D82A}">
                    <a16:rowId xmlns:a16="http://schemas.microsoft.com/office/drawing/2014/main" val="3612168474"/>
                  </a:ext>
                </a:extLst>
              </a:tr>
              <a:tr h="438547">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1400" u="sng" dirty="0">
                          <a:solidFill>
                            <a:srgbClr val="7EB0EB"/>
                          </a:solidFill>
                          <a:hlinkClick r:id="rId3">
                            <a:extLst>
                              <a:ext uri="{A12FA001-AC4F-418D-AE19-62706E023703}">
                                <ahyp:hlinkClr xmlns:ahyp="http://schemas.microsoft.com/office/drawing/2018/hyperlinkcolor" val="tx"/>
                              </a:ext>
                            </a:extLst>
                          </a:hlinkClick>
                        </a:rPr>
                        <a:t>https://aka.ms/mslearniot</a:t>
                      </a:r>
                      <a:endParaRPr lang="en-US" sz="1400" u="sng" dirty="0">
                        <a:solidFill>
                          <a:srgbClr val="7EB0EB"/>
                        </a:solidFill>
                        <a:latin typeface="Segoe UI"/>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1400" u="sng" dirty="0">
                          <a:solidFill>
                            <a:srgbClr val="7EB0EB"/>
                          </a:solidFill>
                          <a:hlinkClick r:id="rId4">
                            <a:extLst>
                              <a:ext uri="{A12FA001-AC4F-418D-AE19-62706E023703}">
                                <ahyp:hlinkClr xmlns:ahyp="http://schemas.microsoft.com/office/drawing/2018/hyperlinkcolor" val="tx"/>
                              </a:ext>
                            </a:extLst>
                          </a:hlinkClick>
                        </a:rPr>
                        <a:t>https://aka.ms/msiotdevs</a:t>
                      </a:r>
                      <a:endParaRPr lang="en-US" sz="1400" u="sng" dirty="0">
                        <a:solidFill>
                          <a:srgbClr val="7EB0EB"/>
                        </a:solidFill>
                        <a:latin typeface="Segoe UI"/>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1400" u="sng" dirty="0">
                          <a:solidFill>
                            <a:srgbClr val="7EB0EB"/>
                          </a:solidFill>
                          <a:hlinkClick r:id="rId5">
                            <a:extLst>
                              <a:ext uri="{A12FA001-AC4F-418D-AE19-62706E023703}">
                                <ahyp:hlinkClr xmlns:ahyp="http://schemas.microsoft.com/office/drawing/2018/hyperlinkcolor" val="tx"/>
                              </a:ext>
                            </a:extLst>
                          </a:hlinkClick>
                        </a:rPr>
                        <a:t>https://aka.ms/iottechcommunity</a:t>
                      </a:r>
                      <a:endParaRPr lang="en-US" sz="1400" u="sng" dirty="0">
                        <a:solidFill>
                          <a:srgbClr val="7EB0EB"/>
                        </a:solidFill>
                        <a:latin typeface="Segoe UI"/>
                      </a:endParaRPr>
                    </a:p>
                  </a:txBody>
                  <a:tcPr/>
                </a:tc>
                <a:tc>
                  <a:txBody>
                    <a:bodyPr/>
                    <a:lstStyle/>
                    <a:p>
                      <a:pPr algn="ctr"/>
                      <a:r>
                        <a:rPr lang="en-US" sz="1400" u="sng" dirty="0">
                          <a:solidFill>
                            <a:srgbClr val="7EB0EB"/>
                          </a:solidFill>
                          <a:hlinkClick r:id="rId6">
                            <a:extLst>
                              <a:ext uri="{A12FA001-AC4F-418D-AE19-62706E023703}">
                                <ahyp:hlinkClr xmlns:ahyp="http://schemas.microsoft.com/office/drawing/2018/hyperlinkcolor" val="tx"/>
                              </a:ext>
                            </a:extLst>
                          </a:hlinkClick>
                        </a:rPr>
                        <a:t>https://docs.microsoft.com/en-us/azure/iot-fundamentals/</a:t>
                      </a:r>
                      <a:endParaRPr lang="en-US" sz="1400" u="sng" dirty="0">
                        <a:solidFill>
                          <a:srgbClr val="7EB0EB"/>
                        </a:solidFill>
                      </a:endParaRPr>
                    </a:p>
                  </a:txBody>
                  <a:tcPr/>
                </a:tc>
                <a:extLst>
                  <a:ext uri="{0D108BD9-81ED-4DB2-BD59-A6C34878D82A}">
                    <a16:rowId xmlns:a16="http://schemas.microsoft.com/office/drawing/2014/main" val="1706665077"/>
                  </a:ext>
                </a:extLst>
              </a:tr>
              <a:tr h="11947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FFFFFF"/>
                              </a:gs>
                              <a:gs pos="30000">
                                <a:srgbClr val="FFFFFF"/>
                              </a:gs>
                            </a:gsLst>
                            <a:lin ang="5400000" scaled="0"/>
                          </a:gradFill>
                          <a:effectLst/>
                          <a:uLnTx/>
                          <a:uFillTx/>
                          <a:latin typeface="+mn-lt"/>
                          <a:ea typeface="+mn-ea"/>
                          <a:cs typeface="+mn-cs"/>
                        </a:rPr>
                        <a:t>MS Learn is the go-to site for self-paced, step-by-step learning. We offer </a:t>
                      </a:r>
                      <a:r>
                        <a:rPr kumimoji="0" lang="en-US" sz="1200" b="1" i="0" u="none" strike="noStrike" kern="1200" cap="none" spc="0" normalizeH="0" baseline="0" noProof="0" dirty="0">
                          <a:ln>
                            <a:noFill/>
                          </a:ln>
                          <a:gradFill>
                            <a:gsLst>
                              <a:gs pos="2917">
                                <a:srgbClr val="FFFFFF"/>
                              </a:gs>
                              <a:gs pos="30000">
                                <a:srgbClr val="FFFFFF"/>
                              </a:gs>
                            </a:gsLst>
                            <a:lin ang="5400000" scaled="0"/>
                          </a:gradFill>
                          <a:effectLst/>
                          <a:uLnTx/>
                          <a:uFillTx/>
                          <a:latin typeface="+mn-lt"/>
                          <a:ea typeface="+mn-ea"/>
                          <a:cs typeface="+mn-cs"/>
                        </a:rPr>
                        <a:t>over 40+ individual learn modules</a:t>
                      </a:r>
                      <a:r>
                        <a:rPr kumimoji="0" lang="en-US" sz="1200" b="0" i="0" u="none" strike="noStrike" kern="1200" cap="none" spc="0" normalizeH="0" baseline="0" noProof="0" dirty="0">
                          <a:ln>
                            <a:noFill/>
                          </a:ln>
                          <a:gradFill>
                            <a:gsLst>
                              <a:gs pos="2917">
                                <a:srgbClr val="FFFFFF"/>
                              </a:gs>
                              <a:gs pos="30000">
                                <a:srgbClr val="FFFFFF"/>
                              </a:gs>
                            </a:gsLst>
                            <a:lin ang="5400000" scaled="0"/>
                          </a:gradFill>
                          <a:effectLst/>
                          <a:uLnTx/>
                          <a:uFillTx/>
                          <a:latin typeface="+mn-lt"/>
                          <a:ea typeface="+mn-ea"/>
                          <a:cs typeface="+mn-cs"/>
                        </a:rPr>
                        <a:t> covering products such as Azure IoT Hub, IoT Edge, Digital Twins, and more. </a:t>
                      </a:r>
                      <a:endParaRPr lang="en-US" sz="1200" dirty="0">
                        <a:solidFill>
                          <a:schemeClr val="tx1"/>
                        </a:solidFill>
                        <a:latin typeface="+mn-lt"/>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1200" dirty="0">
                          <a:solidFill>
                            <a:schemeClr val="tx1"/>
                          </a:solidFill>
                        </a:rPr>
                        <a:t>Watch and learn about our products! View Deep Dives for deep technical learning.</a:t>
                      </a:r>
                      <a:endParaRPr lang="en-US" sz="1200" i="1" dirty="0">
                        <a:solidFill>
                          <a:schemeClr val="tx1"/>
                        </a:solidFill>
                        <a:latin typeface="+mn-lt"/>
                        <a:cs typeface="Segoe UI"/>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1200" dirty="0">
                          <a:solidFill>
                            <a:schemeClr val="tx1"/>
                          </a:solidFill>
                        </a:rPr>
                        <a:t>Check out the blog to  find technical posts describing and walking through latest IoT products services and features as well as news and announcements.</a:t>
                      </a:r>
                      <a:endParaRPr lang="en-US" sz="1200" i="1" dirty="0">
                        <a:solidFill>
                          <a:schemeClr val="tx1"/>
                        </a:solidFill>
                        <a:latin typeface="+mn-lt"/>
                        <a:cs typeface="Segoe UI"/>
                      </a:endParaRPr>
                    </a:p>
                  </a:txBody>
                  <a:tcPr/>
                </a:tc>
                <a:tc>
                  <a: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1200" dirty="0">
                          <a:solidFill>
                            <a:schemeClr val="tx1"/>
                          </a:solidFill>
                        </a:rPr>
                        <a:t>Check out the quick starts, how-to guides, and tutorials on Azure IoT Docs to learn how to build your IoT solutions.</a:t>
                      </a:r>
                    </a:p>
                    <a:p>
                      <a:pPr algn="ctr"/>
                      <a:endParaRPr lang="en-US" sz="1200" dirty="0">
                        <a:solidFill>
                          <a:schemeClr val="tx1"/>
                        </a:solidFill>
                        <a:latin typeface="+mn-lt"/>
                      </a:endParaRPr>
                    </a:p>
                  </a:txBody>
                  <a:tcPr/>
                </a:tc>
                <a:extLst>
                  <a:ext uri="{0D108BD9-81ED-4DB2-BD59-A6C34878D82A}">
                    <a16:rowId xmlns:a16="http://schemas.microsoft.com/office/drawing/2014/main" val="2656155932"/>
                  </a:ext>
                </a:extLst>
              </a:tr>
            </a:tbl>
          </a:graphicData>
        </a:graphic>
      </p:graphicFrame>
      <p:sp>
        <p:nvSpPr>
          <p:cNvPr id="6" name="Rectangle 5">
            <a:extLst>
              <a:ext uri="{FF2B5EF4-FFF2-40B4-BE49-F238E27FC236}">
                <a16:creationId xmlns:a16="http://schemas.microsoft.com/office/drawing/2014/main" id="{7B185810-390E-474A-8042-E86A3D132417}"/>
              </a:ext>
            </a:extLst>
          </p:cNvPr>
          <p:cNvSpPr/>
          <p:nvPr/>
        </p:nvSpPr>
        <p:spPr>
          <a:xfrm>
            <a:off x="3012248" y="897020"/>
            <a:ext cx="3074823" cy="5563458"/>
          </a:xfrm>
          <a:prstGeom prst="rect">
            <a:avLst/>
          </a:prstGeom>
          <a:noFill/>
          <a:ln w="1905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3">
            <a:extLst>
              <a:ext uri="{FF2B5EF4-FFF2-40B4-BE49-F238E27FC236}">
                <a16:creationId xmlns:a16="http://schemas.microsoft.com/office/drawing/2014/main" id="{DFEA0320-94CD-4EEC-91B3-DE5DE59F24C9}"/>
              </a:ext>
            </a:extLst>
          </p:cNvPr>
          <p:cNvSpPr txBox="1">
            <a:spLocks/>
          </p:cNvSpPr>
          <p:nvPr/>
        </p:nvSpPr>
        <p:spPr>
          <a:xfrm>
            <a:off x="257297" y="195793"/>
            <a:ext cx="11541280" cy="74086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prstClr val="white"/>
                </a:solidFill>
                <a:effectLst/>
                <a:uLnTx/>
                <a:uFillTx/>
                <a:latin typeface="Segoe UI Semibold" panose="020B0702040204020203" pitchFamily="34" charset="0"/>
                <a:ea typeface="+mj-ea"/>
                <a:cs typeface="Segoe UI Semibold" panose="020B0702040204020203" pitchFamily="34" charset="0"/>
              </a:rPr>
              <a:t>Start upskilling on Azure IoT today! </a:t>
            </a:r>
          </a:p>
        </p:txBody>
      </p:sp>
      <p:sp>
        <p:nvSpPr>
          <p:cNvPr id="10" name="Rectangle 9">
            <a:extLst>
              <a:ext uri="{FF2B5EF4-FFF2-40B4-BE49-F238E27FC236}">
                <a16:creationId xmlns:a16="http://schemas.microsoft.com/office/drawing/2014/main" id="{E588C066-29C2-4D23-8438-230BDB6BE43C}"/>
              </a:ext>
            </a:extLst>
          </p:cNvPr>
          <p:cNvSpPr/>
          <p:nvPr/>
        </p:nvSpPr>
        <p:spPr>
          <a:xfrm>
            <a:off x="3065145" y="1281541"/>
            <a:ext cx="2846189" cy="2103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225" rtl="0" eaLnBrk="1" fontAlgn="auto" latinLnBrk="0" hangingPunct="1">
              <a:lnSpc>
                <a:spcPct val="100000"/>
              </a:lnSpc>
              <a:spcBef>
                <a:spcPts val="0"/>
              </a:spcBef>
              <a:spcAft>
                <a:spcPts val="600"/>
              </a:spcAft>
              <a:buClrTx/>
              <a:buSzTx/>
              <a:buFontTx/>
              <a:buNone/>
              <a:tabLst/>
              <a:defRPr/>
            </a:pPr>
            <a:endParaRPr kumimoji="0" lang="en-US" sz="1200" b="0" i="1" u="none" strike="noStrike" kern="1200" cap="none" spc="0" normalizeH="0" baseline="0" noProof="0" dirty="0">
              <a:ln>
                <a:noFill/>
              </a:ln>
              <a:solidFill>
                <a:prstClr val="white"/>
              </a:solidFill>
              <a:effectLst/>
              <a:uLnTx/>
              <a:uFillTx/>
              <a:latin typeface="Segoe UI"/>
              <a:ea typeface="+mn-ea"/>
              <a:cs typeface="Segoe UI"/>
            </a:endParaRPr>
          </a:p>
        </p:txBody>
      </p:sp>
      <p:pic>
        <p:nvPicPr>
          <p:cNvPr id="12" name="Picture 11">
            <a:extLst>
              <a:ext uri="{FF2B5EF4-FFF2-40B4-BE49-F238E27FC236}">
                <a16:creationId xmlns:a16="http://schemas.microsoft.com/office/drawing/2014/main" id="{E7C676E7-F995-4512-A7ED-A0A3F811C705}"/>
              </a:ext>
            </a:extLst>
          </p:cNvPr>
          <p:cNvPicPr>
            <a:picLocks noChangeAspect="1"/>
          </p:cNvPicPr>
          <p:nvPr/>
        </p:nvPicPr>
        <p:blipFill>
          <a:blip r:embed="rId7"/>
          <a:stretch>
            <a:fillRect/>
          </a:stretch>
        </p:blipFill>
        <p:spPr>
          <a:xfrm>
            <a:off x="3161308" y="3357665"/>
            <a:ext cx="2543018" cy="2247575"/>
          </a:xfrm>
          <a:prstGeom prst="rect">
            <a:avLst/>
          </a:prstGeom>
          <a:ln w="12700">
            <a:solidFill>
              <a:schemeClr val="accent1"/>
            </a:solidFill>
          </a:ln>
        </p:spPr>
      </p:pic>
      <p:sp>
        <p:nvSpPr>
          <p:cNvPr id="18" name="AutoShape 2">
            <a:extLst>
              <a:ext uri="{FF2B5EF4-FFF2-40B4-BE49-F238E27FC236}">
                <a16:creationId xmlns:a16="http://schemas.microsoft.com/office/drawing/2014/main" id="{9619E72A-2075-4196-9248-8B1C102F95B5}"/>
              </a:ext>
            </a:extLst>
          </p:cNvPr>
          <p:cNvSpPr>
            <a:spLocks noChangeAspect="1" noChangeArrowheads="1"/>
          </p:cNvSpPr>
          <p:nvPr/>
        </p:nvSpPr>
        <p:spPr bwMode="auto">
          <a:xfrm>
            <a:off x="5911334" y="3244334"/>
            <a:ext cx="369332" cy="369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6" name="Graphic 25">
            <a:extLst>
              <a:ext uri="{FF2B5EF4-FFF2-40B4-BE49-F238E27FC236}">
                <a16:creationId xmlns:a16="http://schemas.microsoft.com/office/drawing/2014/main" id="{4C6C61ED-F7A3-46E6-A754-70FB754C0C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48120" y="4409207"/>
            <a:ext cx="902614" cy="1071327"/>
          </a:xfrm>
          <a:prstGeom prst="rect">
            <a:avLst/>
          </a:prstGeom>
        </p:spPr>
      </p:pic>
      <p:pic>
        <p:nvPicPr>
          <p:cNvPr id="28" name="Graphic 27">
            <a:extLst>
              <a:ext uri="{FF2B5EF4-FFF2-40B4-BE49-F238E27FC236}">
                <a16:creationId xmlns:a16="http://schemas.microsoft.com/office/drawing/2014/main" id="{45E18FED-CFC3-4889-A124-4D5E47466AE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88793" y="4833549"/>
            <a:ext cx="1373619" cy="1630370"/>
          </a:xfrm>
          <a:prstGeom prst="rect">
            <a:avLst/>
          </a:prstGeom>
        </p:spPr>
      </p:pic>
      <p:pic>
        <p:nvPicPr>
          <p:cNvPr id="30" name="Picture 29">
            <a:extLst>
              <a:ext uri="{FF2B5EF4-FFF2-40B4-BE49-F238E27FC236}">
                <a16:creationId xmlns:a16="http://schemas.microsoft.com/office/drawing/2014/main" id="{69A58FC5-D10A-460C-BA32-6F8B394C7E70}"/>
              </a:ext>
            </a:extLst>
          </p:cNvPr>
          <p:cNvPicPr>
            <a:picLocks noChangeAspect="1"/>
          </p:cNvPicPr>
          <p:nvPr/>
        </p:nvPicPr>
        <p:blipFill>
          <a:blip r:embed="rId12"/>
          <a:stretch>
            <a:fillRect/>
          </a:stretch>
        </p:blipFill>
        <p:spPr>
          <a:xfrm>
            <a:off x="3953947" y="5110360"/>
            <a:ext cx="1957387" cy="1100137"/>
          </a:xfrm>
          <a:prstGeom prst="rect">
            <a:avLst/>
          </a:prstGeom>
        </p:spPr>
      </p:pic>
      <p:pic>
        <p:nvPicPr>
          <p:cNvPr id="32" name="Picture 31">
            <a:extLst>
              <a:ext uri="{FF2B5EF4-FFF2-40B4-BE49-F238E27FC236}">
                <a16:creationId xmlns:a16="http://schemas.microsoft.com/office/drawing/2014/main" id="{FFE6B2D3-1A30-4A23-B475-A66D605B4FEC}"/>
              </a:ext>
            </a:extLst>
          </p:cNvPr>
          <p:cNvPicPr>
            <a:picLocks noChangeAspect="1"/>
          </p:cNvPicPr>
          <p:nvPr/>
        </p:nvPicPr>
        <p:blipFill>
          <a:blip r:embed="rId13"/>
          <a:stretch>
            <a:fillRect/>
          </a:stretch>
        </p:blipFill>
        <p:spPr>
          <a:xfrm>
            <a:off x="6202773" y="3868193"/>
            <a:ext cx="2715812" cy="1829968"/>
          </a:xfrm>
          <a:prstGeom prst="rect">
            <a:avLst/>
          </a:prstGeom>
          <a:ln w="12700">
            <a:solidFill>
              <a:schemeClr val="accent1"/>
            </a:solidFill>
          </a:ln>
        </p:spPr>
      </p:pic>
      <p:pic>
        <p:nvPicPr>
          <p:cNvPr id="34" name="Picture 33">
            <a:extLst>
              <a:ext uri="{FF2B5EF4-FFF2-40B4-BE49-F238E27FC236}">
                <a16:creationId xmlns:a16="http://schemas.microsoft.com/office/drawing/2014/main" id="{90DA9D98-3A97-4227-8505-B1863DCF4533}"/>
              </a:ext>
            </a:extLst>
          </p:cNvPr>
          <p:cNvPicPr>
            <a:picLocks noChangeAspect="1"/>
          </p:cNvPicPr>
          <p:nvPr/>
        </p:nvPicPr>
        <p:blipFill>
          <a:blip r:embed="rId14"/>
          <a:stretch>
            <a:fillRect/>
          </a:stretch>
        </p:blipFill>
        <p:spPr>
          <a:xfrm>
            <a:off x="7233031" y="4913465"/>
            <a:ext cx="1472073" cy="1221616"/>
          </a:xfrm>
          <a:prstGeom prst="rect">
            <a:avLst/>
          </a:prstGeom>
          <a:ln w="12700">
            <a:solidFill>
              <a:schemeClr val="accent1"/>
            </a:solidFill>
          </a:ln>
        </p:spPr>
      </p:pic>
      <p:sp>
        <p:nvSpPr>
          <p:cNvPr id="36" name="Rectangle 35">
            <a:extLst>
              <a:ext uri="{FF2B5EF4-FFF2-40B4-BE49-F238E27FC236}">
                <a16:creationId xmlns:a16="http://schemas.microsoft.com/office/drawing/2014/main" id="{8CD98B1B-E3A2-41AB-927F-CFADDD2F4B61}"/>
              </a:ext>
            </a:extLst>
          </p:cNvPr>
          <p:cNvSpPr/>
          <p:nvPr/>
        </p:nvSpPr>
        <p:spPr>
          <a:xfrm>
            <a:off x="9074436" y="897020"/>
            <a:ext cx="2948565" cy="5623938"/>
          </a:xfrm>
          <a:prstGeom prst="rect">
            <a:avLst/>
          </a:prstGeom>
          <a:noFill/>
          <a:ln w="1905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8" name="Picture 37">
            <a:extLst>
              <a:ext uri="{FF2B5EF4-FFF2-40B4-BE49-F238E27FC236}">
                <a16:creationId xmlns:a16="http://schemas.microsoft.com/office/drawing/2014/main" id="{1120499E-AF4E-4709-BF60-11CF1A480BD1}"/>
              </a:ext>
            </a:extLst>
          </p:cNvPr>
          <p:cNvPicPr>
            <a:picLocks noChangeAspect="1"/>
          </p:cNvPicPr>
          <p:nvPr/>
        </p:nvPicPr>
        <p:blipFill>
          <a:blip r:embed="rId15"/>
          <a:stretch>
            <a:fillRect/>
          </a:stretch>
        </p:blipFill>
        <p:spPr>
          <a:xfrm>
            <a:off x="9507166" y="4245891"/>
            <a:ext cx="2291411" cy="1525053"/>
          </a:xfrm>
          <a:prstGeom prst="rect">
            <a:avLst/>
          </a:prstGeom>
          <a:ln w="12700">
            <a:solidFill>
              <a:schemeClr val="accent1"/>
            </a:solidFill>
          </a:ln>
        </p:spPr>
      </p:pic>
      <p:pic>
        <p:nvPicPr>
          <p:cNvPr id="40" name="Picture 39">
            <a:extLst>
              <a:ext uri="{FF2B5EF4-FFF2-40B4-BE49-F238E27FC236}">
                <a16:creationId xmlns:a16="http://schemas.microsoft.com/office/drawing/2014/main" id="{91E5FD47-34F7-4CD6-95EF-BF69A4D45088}"/>
              </a:ext>
            </a:extLst>
          </p:cNvPr>
          <p:cNvPicPr>
            <a:picLocks noChangeAspect="1"/>
          </p:cNvPicPr>
          <p:nvPr/>
        </p:nvPicPr>
        <p:blipFill>
          <a:blip r:embed="rId16"/>
          <a:stretch>
            <a:fillRect/>
          </a:stretch>
        </p:blipFill>
        <p:spPr>
          <a:xfrm>
            <a:off x="9196814" y="3636317"/>
            <a:ext cx="2254685" cy="876379"/>
          </a:xfrm>
          <a:prstGeom prst="rect">
            <a:avLst/>
          </a:prstGeom>
          <a:ln w="12700">
            <a:solidFill>
              <a:schemeClr val="accent1"/>
            </a:solidFill>
          </a:ln>
        </p:spPr>
      </p:pic>
      <p:sp>
        <p:nvSpPr>
          <p:cNvPr id="41" name="TextBox 4">
            <a:extLst>
              <a:ext uri="{FF2B5EF4-FFF2-40B4-BE49-F238E27FC236}">
                <a16:creationId xmlns:a16="http://schemas.microsoft.com/office/drawing/2014/main" id="{BCFE153D-965E-48D2-942E-A755707B92C0}"/>
              </a:ext>
            </a:extLst>
          </p:cNvPr>
          <p:cNvSpPr txBox="1"/>
          <p:nvPr/>
        </p:nvSpPr>
        <p:spPr>
          <a:xfrm>
            <a:off x="188818" y="3745112"/>
            <a:ext cx="2787824" cy="861774"/>
          </a:xfrm>
          <a:prstGeom prst="rect">
            <a:avLst/>
          </a:prstGeom>
          <a:noFill/>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hlinkClick r:id="rId17"/>
              </a:rPr>
              <a:t>https://aka.ms/IntroAzureIoTLearningPath</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8A6FAC49-DE0B-4B35-99BF-3D27B796B282}"/>
              </a:ext>
            </a:extLst>
          </p:cNvPr>
          <p:cNvSpPr txBox="1"/>
          <p:nvPr/>
        </p:nvSpPr>
        <p:spPr>
          <a:xfrm>
            <a:off x="7686675" y="104831"/>
            <a:ext cx="4505325" cy="369332"/>
          </a:xfrm>
          <a:prstGeom prst="rect">
            <a:avLst/>
          </a:prstGeom>
          <a:solidFill>
            <a:srgbClr val="FFC000"/>
          </a:solidFill>
        </p:spPr>
        <p:txBody>
          <a:bodyPr wrap="square">
            <a:spAutoFit/>
          </a:bodyPr>
          <a:lstStyle/>
          <a:p>
            <a:r>
              <a:rPr lang="en-US" b="1" dirty="0">
                <a:solidFill>
                  <a:schemeClr val="bg1"/>
                </a:solidFill>
                <a:latin typeface="+mj-lt"/>
              </a:rPr>
              <a:t>https://aka.ms/get-started-azure-2021</a:t>
            </a:r>
          </a:p>
        </p:txBody>
      </p:sp>
    </p:spTree>
    <p:extLst>
      <p:ext uri="{BB962C8B-B14F-4D97-AF65-F5344CB8AC3E}">
        <p14:creationId xmlns:p14="http://schemas.microsoft.com/office/powerpoint/2010/main" val="89671499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8DB35291-7B17-4A0A-A3CD-C105FF3EC5CE}"/>
              </a:ext>
            </a:extLst>
          </p:cNvPr>
          <p:cNvSpPr txBox="1">
            <a:spLocks/>
          </p:cNvSpPr>
          <p:nvPr/>
        </p:nvSpPr>
        <p:spPr>
          <a:xfrm>
            <a:off x="344423" y="448492"/>
            <a:ext cx="11018520" cy="492443"/>
          </a:xfrm>
          <a:prstGeom prst="rect">
            <a:avLst/>
          </a:prstGeom>
          <a:noFill/>
        </p:spPr>
        <p:txBody>
          <a:bodyPr vert="horz" wrap="square" lIns="0" tIns="0" rIns="0" bIns="0" rtlCol="0" anchor="t" anchorCtr="0">
            <a:noAutofit/>
          </a:bodyPr>
          <a:lstStyle>
            <a:lvl1pPr algn="l" defTabSz="914367" rtl="0" eaLnBrk="1" latinLnBrk="0" hangingPunct="1">
              <a:lnSpc>
                <a:spcPct val="90000"/>
              </a:lnSpc>
              <a:spcBef>
                <a:spcPct val="0"/>
              </a:spcBef>
              <a:buNone/>
              <a:defRPr lang="en-US" sz="4705" b="0" kern="1200" cap="none" spc="-49" baseline="0" dirty="0">
                <a:ln w="3175">
                  <a:noFill/>
                </a:ln>
                <a:gradFill>
                  <a:gsLst>
                    <a:gs pos="0">
                      <a:schemeClr val="tx1"/>
                    </a:gs>
                    <a:gs pos="100000">
                      <a:schemeClr val="tx1"/>
                    </a:gs>
                  </a:gsLst>
                  <a:lin ang="5400000" scaled="1"/>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49" normalizeH="0" baseline="0" noProof="0">
                <a:ln w="3175">
                  <a:noFill/>
                </a:ln>
                <a:gradFill>
                  <a:gsLst>
                    <a:gs pos="0">
                      <a:srgbClr val="FFFFFF"/>
                    </a:gs>
                    <a:gs pos="100000">
                      <a:srgbClr val="FFFFFF"/>
                    </a:gs>
                  </a:gsLst>
                  <a:lin ang="5400000" scaled="1"/>
                </a:gradFill>
                <a:effectLst/>
                <a:uLnTx/>
                <a:uFillTx/>
                <a:latin typeface="Segoe UI Semibold"/>
                <a:ea typeface="+mn-ea"/>
                <a:cs typeface="Segoe UI" pitchFamily="34" charset="0"/>
              </a:rPr>
              <a:t>30 Days to Learn Cloud Skills Challenge </a:t>
            </a:r>
          </a:p>
        </p:txBody>
      </p:sp>
      <p:pic>
        <p:nvPicPr>
          <p:cNvPr id="8" name="Picture 7">
            <a:extLst>
              <a:ext uri="{FF2B5EF4-FFF2-40B4-BE49-F238E27FC236}">
                <a16:creationId xmlns:a16="http://schemas.microsoft.com/office/drawing/2014/main" id="{ACAC14D8-A27F-4F61-90DE-19B89B570EE3}"/>
              </a:ext>
            </a:extLst>
          </p:cNvPr>
          <p:cNvPicPr>
            <a:picLocks noChangeAspect="1"/>
          </p:cNvPicPr>
          <p:nvPr/>
        </p:nvPicPr>
        <p:blipFill>
          <a:blip r:embed="rId3"/>
          <a:stretch>
            <a:fillRect/>
          </a:stretch>
        </p:blipFill>
        <p:spPr>
          <a:xfrm>
            <a:off x="6136782" y="1756682"/>
            <a:ext cx="6055218" cy="3344636"/>
          </a:xfrm>
          <a:prstGeom prst="rect">
            <a:avLst/>
          </a:prstGeom>
        </p:spPr>
      </p:pic>
      <p:sp>
        <p:nvSpPr>
          <p:cNvPr id="10" name="TextBox 9">
            <a:extLst>
              <a:ext uri="{FF2B5EF4-FFF2-40B4-BE49-F238E27FC236}">
                <a16:creationId xmlns:a16="http://schemas.microsoft.com/office/drawing/2014/main" id="{28FE0C75-AF51-4353-8B60-6E0829783FCD}"/>
              </a:ext>
            </a:extLst>
          </p:cNvPr>
          <p:cNvSpPr txBox="1"/>
          <p:nvPr/>
        </p:nvSpPr>
        <p:spPr>
          <a:xfrm>
            <a:off x="208844" y="1756682"/>
            <a:ext cx="5130800" cy="203132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30 Days to Learn it’ offers a time-bound, personalized, Cloud Skills Challenge that is built upon Microsoft Learn. It is designed to help developers build in-demand skills that advance their career, while preparing them to earn the Microsoft Certification for the Azure IoT Developer (AZ220) exam. </a:t>
            </a:r>
          </a:p>
        </p:txBody>
      </p:sp>
      <p:sp>
        <p:nvSpPr>
          <p:cNvPr id="12" name="TextBox 11">
            <a:extLst>
              <a:ext uri="{FF2B5EF4-FFF2-40B4-BE49-F238E27FC236}">
                <a16:creationId xmlns:a16="http://schemas.microsoft.com/office/drawing/2014/main" id="{8AD81E54-B65E-4F1D-A4F9-42CEE64F93CD}"/>
              </a:ext>
            </a:extLst>
          </p:cNvPr>
          <p:cNvSpPr txBox="1"/>
          <p:nvPr/>
        </p:nvSpPr>
        <p:spPr>
          <a:xfrm>
            <a:off x="208844" y="4297016"/>
            <a:ext cx="6220178"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sng" strike="noStrike" kern="1200" cap="none" spc="0" normalizeH="0" baseline="0" noProof="0" dirty="0">
                <a:ln>
                  <a:noFill/>
                </a:ln>
                <a:solidFill>
                  <a:srgbClr val="0563C1"/>
                </a:solidFill>
                <a:effectLst/>
                <a:uLnTx/>
                <a:uFillTx/>
                <a:latin typeface="Calibri" panose="020F0502020204030204" pitchFamily="34" charset="0"/>
                <a:ea typeface="Times New Roman" panose="02020603050405020304" pitchFamily="18" charset="0"/>
                <a:cs typeface="+mn-cs"/>
                <a:hlinkClick r:id="rId4"/>
              </a:rPr>
              <a:t>https://aka.ms/30DaysCSC/IoT</a:t>
            </a:r>
            <a:r>
              <a:rPr kumimoji="0" lang="en-US" sz="3200" b="1" i="0" u="none" strike="noStrike" kern="1200" cap="none" spc="0" normalizeH="0" baseline="0" noProof="0" dirty="0">
                <a:ln>
                  <a:noFill/>
                </a:ln>
                <a:solidFill>
                  <a:srgbClr val="FFFFFF"/>
                </a:solidFill>
                <a:effectLst/>
                <a:uLnTx/>
                <a:uFillTx/>
                <a:latin typeface="Calibri" panose="020F0502020204030204" pitchFamily="34" charset="0"/>
                <a:ea typeface="Times New Roman" panose="02020603050405020304" pitchFamily="18" charset="0"/>
                <a:cs typeface="+mn-cs"/>
              </a:rPr>
              <a:t> </a:t>
            </a:r>
            <a:endParaRPr kumimoji="0" lang="en-US" sz="32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94529901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72E3C13-FFE8-4014-BB88-7955570ABE76}"/>
              </a:ext>
            </a:extLst>
          </p:cNvPr>
          <p:cNvSpPr>
            <a:spLocks noGrp="1"/>
          </p:cNvSpPr>
          <p:nvPr>
            <p:ph type="title"/>
          </p:nvPr>
        </p:nvSpPr>
        <p:spPr>
          <a:xfrm>
            <a:off x="345461" y="1024257"/>
            <a:ext cx="10989079" cy="4894222"/>
          </a:xfrm>
        </p:spPr>
        <p:txBody>
          <a:bodyPr/>
          <a:lstStyle/>
          <a:p>
            <a:r>
              <a:rPr lang="en-US" sz="4400" dirty="0">
                <a:gradFill>
                  <a:gsLst>
                    <a:gs pos="0">
                      <a:schemeClr val="accent5"/>
                    </a:gs>
                    <a:gs pos="100000">
                      <a:schemeClr val="accent4"/>
                    </a:gs>
                  </a:gsLst>
                  <a:lin ang="2700000" scaled="1"/>
                </a:gradFill>
              </a:rPr>
              <a:t>We would love to hear from you!</a:t>
            </a:r>
            <a:br>
              <a:rPr lang="en-US" dirty="0">
                <a:solidFill>
                  <a:schemeClr val="tx1"/>
                </a:solidFill>
              </a:rPr>
            </a:br>
            <a:br>
              <a:rPr lang="en-US" dirty="0">
                <a:solidFill>
                  <a:schemeClr val="tx1"/>
                </a:solidFill>
              </a:rPr>
            </a:br>
            <a:r>
              <a:rPr lang="en-US" sz="3600" dirty="0"/>
              <a:t>Would you please tell the Azure IoT engineering team about your development processes and tools? By completing this very short (&lt;4 minute) survey?</a:t>
            </a:r>
            <a:br>
              <a:rPr lang="en-US" sz="3600" dirty="0"/>
            </a:br>
            <a:br>
              <a:rPr lang="en-US" sz="3600" dirty="0"/>
            </a:br>
            <a:r>
              <a:rPr lang="en-US" dirty="0">
                <a:solidFill>
                  <a:schemeClr val="bg2"/>
                </a:solidFill>
                <a:hlinkClick r:id="rId3">
                  <a:extLst>
                    <a:ext uri="{A12FA001-AC4F-418D-AE19-62706E023703}">
                      <ahyp:hlinkClr xmlns:ahyp="http://schemas.microsoft.com/office/drawing/2018/hyperlinkcolor" val="tx"/>
                    </a:ext>
                  </a:extLst>
                </a:hlinkClick>
              </a:rPr>
              <a:t>http://aka.ms/EmbeddedDevResearch</a:t>
            </a:r>
            <a:endParaRPr lang="en-US" sz="4400" dirty="0">
              <a:solidFill>
                <a:schemeClr val="bg2"/>
              </a:solidFill>
            </a:endParaRPr>
          </a:p>
        </p:txBody>
      </p:sp>
    </p:spTree>
    <p:extLst>
      <p:ext uri="{BB962C8B-B14F-4D97-AF65-F5344CB8AC3E}">
        <p14:creationId xmlns:p14="http://schemas.microsoft.com/office/powerpoint/2010/main" val="128145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4.58333E-6 0 L -4.58333E-6 0.01898 " pathEditMode="relative" rAng="0" ptsTypes="AA">
                                      <p:cBhvr>
                                        <p:cTn id="9" dur="700" spd="-100000" fill="hold"/>
                                        <p:tgtEl>
                                          <p:spTgt spid="3"/>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CF5A708-A003-4802-B2D1-52C880A3440A}"/>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72E3C13-FFE8-4014-BB88-7955570ABE76}"/>
              </a:ext>
            </a:extLst>
          </p:cNvPr>
          <p:cNvSpPr>
            <a:spLocks noGrp="1"/>
          </p:cNvSpPr>
          <p:nvPr>
            <p:ph type="title"/>
          </p:nvPr>
        </p:nvSpPr>
        <p:spPr>
          <a:xfrm>
            <a:off x="455994" y="1281102"/>
            <a:ext cx="11085518" cy="4774010"/>
          </a:xfrm>
        </p:spPr>
        <p:txBody>
          <a:bodyPr/>
          <a:lstStyle/>
          <a:p>
            <a:r>
              <a:rPr lang="en-US" sz="4400" dirty="0">
                <a:gradFill>
                  <a:gsLst>
                    <a:gs pos="0">
                      <a:schemeClr val="accent5"/>
                    </a:gs>
                    <a:gs pos="100000">
                      <a:schemeClr val="accent4"/>
                    </a:gs>
                  </a:gsLst>
                  <a:lin ang="2700000" scaled="1"/>
                </a:gradFill>
              </a:rPr>
              <a:t>Live Q&amp;A </a:t>
            </a:r>
            <a:br>
              <a:rPr lang="en-US" sz="4400" dirty="0">
                <a:gradFill>
                  <a:gsLst>
                    <a:gs pos="0">
                      <a:schemeClr val="accent5"/>
                    </a:gs>
                    <a:gs pos="100000">
                      <a:schemeClr val="accent4"/>
                    </a:gs>
                  </a:gsLst>
                  <a:lin ang="2700000" scaled="1"/>
                </a:gradFill>
              </a:rPr>
            </a:br>
            <a:r>
              <a:rPr lang="en-US" sz="4400" dirty="0">
                <a:gradFill>
                  <a:gsLst>
                    <a:gs pos="0">
                      <a:schemeClr val="accent5"/>
                    </a:gs>
                    <a:gs pos="100000">
                      <a:schemeClr val="accent4"/>
                    </a:gs>
                  </a:gsLst>
                  <a:lin ang="2700000" scaled="1"/>
                </a:gradFill>
              </a:rPr>
              <a:t>Thank you!</a:t>
            </a:r>
            <a:br>
              <a:rPr lang="en-US" sz="4400" dirty="0">
                <a:gradFill>
                  <a:gsLst>
                    <a:gs pos="0">
                      <a:schemeClr val="accent5"/>
                    </a:gs>
                    <a:gs pos="100000">
                      <a:schemeClr val="accent4"/>
                    </a:gs>
                  </a:gsLst>
                  <a:lin ang="2700000" scaled="1"/>
                </a:gradFill>
              </a:rPr>
            </a:br>
            <a:br>
              <a:rPr lang="en-US" sz="4400" dirty="0">
                <a:gradFill>
                  <a:gsLst>
                    <a:gs pos="0">
                      <a:schemeClr val="accent5"/>
                    </a:gs>
                    <a:gs pos="100000">
                      <a:schemeClr val="accent4"/>
                    </a:gs>
                  </a:gsLst>
                  <a:lin ang="2700000" scaled="1"/>
                </a:gradFill>
              </a:rPr>
            </a:br>
            <a:r>
              <a:rPr lang="en-US" sz="2000" dirty="0"/>
              <a:t>IoT Arch Reference: </a:t>
            </a:r>
            <a:r>
              <a:rPr lang="en-US" sz="2000" dirty="0">
                <a:hlinkClick r:id="rId3"/>
              </a:rPr>
              <a:t>https://aka.ms/iotrefarchitecture</a:t>
            </a:r>
            <a:br>
              <a:rPr lang="en-US" sz="2000" dirty="0"/>
            </a:br>
            <a:r>
              <a:rPr lang="en-US" sz="2000" dirty="0"/>
              <a:t>Azure Account Signup: </a:t>
            </a:r>
            <a:r>
              <a:rPr lang="en-US" sz="2000" dirty="0">
                <a:hlinkClick r:id="rId4"/>
              </a:rPr>
              <a:t>https://aka.ms/get-started-azure-2021</a:t>
            </a:r>
            <a:br>
              <a:rPr lang="en-US" sz="2000" dirty="0"/>
            </a:br>
            <a:r>
              <a:rPr lang="en-US" sz="2000" dirty="0"/>
              <a:t>Azure IoT Central: </a:t>
            </a:r>
            <a:r>
              <a:rPr lang="en-US" sz="2000" dirty="0">
                <a:hlinkClick r:id="rId5"/>
              </a:rPr>
              <a:t>https://apps.azureiotcentral.com/myapps</a:t>
            </a:r>
            <a:br>
              <a:rPr lang="en-US" sz="2000" dirty="0"/>
            </a:br>
            <a:r>
              <a:rPr lang="en-US" sz="2000" dirty="0"/>
              <a:t>Cloud Skills Challenge: </a:t>
            </a:r>
            <a:r>
              <a:rPr lang="en-US" sz="2000" dirty="0">
                <a:hlinkClick r:id="rId6"/>
              </a:rPr>
              <a:t>https://aka.ms/30DaysCSC/IoT </a:t>
            </a:r>
            <a:br>
              <a:rPr lang="en-US" sz="2000" dirty="0"/>
            </a:br>
            <a:r>
              <a:rPr lang="en-US" sz="2000" dirty="0"/>
              <a:t>MS Learn: </a:t>
            </a:r>
            <a:r>
              <a:rPr lang="en-US" sz="2000" dirty="0">
                <a:hlinkClick r:id="rId7"/>
              </a:rPr>
              <a:t>https://aka.ms/mslearniot</a:t>
            </a:r>
            <a:br>
              <a:rPr lang="en-US" sz="2000" dirty="0"/>
            </a:br>
            <a:r>
              <a:rPr lang="en-US" sz="2000" dirty="0"/>
              <a:t>MSFT IoT Developer Video Channel: </a:t>
            </a:r>
            <a:r>
              <a:rPr lang="en-US" sz="2000" dirty="0">
                <a:hlinkClick r:id="rId8"/>
              </a:rPr>
              <a:t>https://aka.ms/msiotdevs</a:t>
            </a:r>
            <a:br>
              <a:rPr lang="en-US" sz="2000" dirty="0"/>
            </a:br>
            <a:r>
              <a:rPr lang="en-US" sz="2000" dirty="0"/>
              <a:t>IoT Tech Community: </a:t>
            </a:r>
            <a:r>
              <a:rPr lang="en-US" sz="2000" dirty="0">
                <a:hlinkClick r:id="rId9"/>
              </a:rPr>
              <a:t>https://aka.ms/iottechcommunity</a:t>
            </a:r>
            <a:br>
              <a:rPr lang="en-US" sz="2000" dirty="0"/>
            </a:br>
            <a:r>
              <a:rPr lang="en-US" sz="2000" dirty="0"/>
              <a:t>Azure IoT Docs: </a:t>
            </a:r>
            <a:r>
              <a:rPr lang="en-US" sz="2000" dirty="0">
                <a:hlinkClick r:id="rId10"/>
              </a:rPr>
              <a:t>https://docs.microsoft.com/en-us/azure/iot-fundamentals/</a:t>
            </a:r>
            <a:br>
              <a:rPr lang="en-US" dirty="0"/>
            </a:br>
            <a:br>
              <a:rPr lang="en-US" sz="4400" dirty="0">
                <a:gradFill>
                  <a:gsLst>
                    <a:gs pos="0">
                      <a:schemeClr val="accent5"/>
                    </a:gs>
                    <a:gs pos="100000">
                      <a:schemeClr val="accent4"/>
                    </a:gs>
                  </a:gsLst>
                  <a:lin ang="2700000" scaled="1"/>
                </a:gradFill>
              </a:rPr>
            </a:br>
            <a:br>
              <a:rPr lang="en-US" sz="4400" dirty="0">
                <a:gradFill>
                  <a:gsLst>
                    <a:gs pos="0">
                      <a:schemeClr val="accent5"/>
                    </a:gs>
                    <a:gs pos="100000">
                      <a:schemeClr val="accent4"/>
                    </a:gs>
                  </a:gsLst>
                  <a:lin ang="2700000" scaled="1"/>
                </a:gradFill>
              </a:rPr>
            </a:br>
            <a:endParaRPr lang="en-US" sz="4400" dirty="0">
              <a:gradFill>
                <a:gsLst>
                  <a:gs pos="0">
                    <a:schemeClr val="accent5"/>
                  </a:gs>
                  <a:gs pos="100000">
                    <a:schemeClr val="accent4"/>
                  </a:gs>
                </a:gsLst>
                <a:lin ang="2700000" scaled="1"/>
              </a:gradFill>
            </a:endParaRPr>
          </a:p>
        </p:txBody>
      </p:sp>
    </p:spTree>
    <p:extLst>
      <p:ext uri="{BB962C8B-B14F-4D97-AF65-F5344CB8AC3E}">
        <p14:creationId xmlns:p14="http://schemas.microsoft.com/office/powerpoint/2010/main" val="33655181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2.91667E-6 -2.22222E-6 L 2.91667E-6 0.01898 " pathEditMode="relative" rAng="0" ptsTypes="AA">
                                      <p:cBhvr>
                                        <p:cTn id="9" dur="700" spd="-100000" fill="hold"/>
                                        <p:tgtEl>
                                          <p:spTgt spid="3"/>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F28BC93E-2BB2-4020-924B-C1EAC170C3B5}"/>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B762AFDF-15E0-4E07-9533-D9B5EC0936ED}"/>
              </a:ext>
            </a:extLst>
          </p:cNvPr>
          <p:cNvSpPr>
            <a:spLocks noGrp="1"/>
          </p:cNvSpPr>
          <p:nvPr>
            <p:ph type="title"/>
          </p:nvPr>
        </p:nvSpPr>
        <p:spPr/>
        <p:txBody>
          <a:bodyPr/>
          <a:lstStyle/>
          <a:p>
            <a:r>
              <a:rPr lang="en-US" dirty="0">
                <a:solidFill>
                  <a:schemeClr val="tx1"/>
                </a:solidFill>
              </a:rPr>
              <a:t>Agenda</a:t>
            </a:r>
          </a:p>
        </p:txBody>
      </p:sp>
      <p:sp>
        <p:nvSpPr>
          <p:cNvPr id="5" name="Content Placeholder 4">
            <a:extLst>
              <a:ext uri="{FF2B5EF4-FFF2-40B4-BE49-F238E27FC236}">
                <a16:creationId xmlns:a16="http://schemas.microsoft.com/office/drawing/2014/main" id="{0CBDA5BB-06E7-40C4-843A-D85BB77EAB0B}"/>
              </a:ext>
            </a:extLst>
          </p:cNvPr>
          <p:cNvSpPr>
            <a:spLocks noGrp="1"/>
          </p:cNvSpPr>
          <p:nvPr>
            <p:ph type="body" sz="quarter" idx="10"/>
          </p:nvPr>
        </p:nvSpPr>
        <p:spPr>
          <a:xfrm>
            <a:off x="586740" y="1201698"/>
            <a:ext cx="11018520" cy="4327338"/>
          </a:xfrm>
        </p:spPr>
        <p:txBody>
          <a:bodyPr/>
          <a:lstStyle/>
          <a:p>
            <a:pPr marL="514350" indent="-514350">
              <a:lnSpc>
                <a:spcPct val="150000"/>
              </a:lnSpc>
              <a:buFont typeface="+mj-lt"/>
              <a:buAutoNum type="arabicPeriod"/>
            </a:pPr>
            <a:r>
              <a:rPr lang="en-US" sz="2000" dirty="0">
                <a:latin typeface="+mj-lt"/>
              </a:rPr>
              <a:t>Overview of Device Lifecycle &amp; Device Provisioning Service</a:t>
            </a:r>
          </a:p>
          <a:p>
            <a:pPr marL="514350" indent="-514350">
              <a:lnSpc>
                <a:spcPct val="150000"/>
              </a:lnSpc>
              <a:buFont typeface="+mj-lt"/>
              <a:buAutoNum type="arabicPeriod"/>
            </a:pPr>
            <a:r>
              <a:rPr lang="en-US" sz="2000" dirty="0">
                <a:latin typeface="+mj-lt"/>
              </a:rPr>
              <a:t>Scenarios</a:t>
            </a:r>
          </a:p>
          <a:p>
            <a:pPr marL="514350" indent="-514350">
              <a:lnSpc>
                <a:spcPct val="150000"/>
              </a:lnSpc>
              <a:buFont typeface="+mj-lt"/>
              <a:buAutoNum type="arabicPeriod"/>
            </a:pPr>
            <a:r>
              <a:rPr lang="en-US" sz="2000" dirty="0">
                <a:latin typeface="+mj-lt"/>
              </a:rPr>
              <a:t>How it works</a:t>
            </a:r>
          </a:p>
          <a:p>
            <a:pPr marL="514350" indent="-514350">
              <a:lnSpc>
                <a:spcPct val="150000"/>
              </a:lnSpc>
              <a:buFont typeface="+mj-lt"/>
              <a:buAutoNum type="arabicPeriod"/>
            </a:pPr>
            <a:r>
              <a:rPr lang="en-US" sz="2000" dirty="0">
                <a:latin typeface="+mj-lt"/>
              </a:rPr>
              <a:t>Lab: Provision IoT devices securely and at scale with Device Provisioning Service</a:t>
            </a:r>
          </a:p>
          <a:p>
            <a:pPr marL="685800" lvl="1" indent="-457200">
              <a:lnSpc>
                <a:spcPct val="150000"/>
              </a:lnSpc>
              <a:buFont typeface="Arial" panose="020B0604020202020204" pitchFamily="34" charset="0"/>
              <a:buChar char="•"/>
            </a:pPr>
            <a:r>
              <a:rPr lang="en-US" sz="1600" dirty="0">
                <a:solidFill>
                  <a:srgbClr val="50E6FF"/>
                </a:solidFill>
                <a:latin typeface="+mj-lt"/>
              </a:rPr>
              <a:t> Create DPS resource &amp; group enrollment. Provision device with x.509 certificate attestation </a:t>
            </a:r>
          </a:p>
          <a:p>
            <a:pPr marL="685800" lvl="1" indent="-457200">
              <a:lnSpc>
                <a:spcPct val="150000"/>
              </a:lnSpc>
              <a:buFont typeface="Arial" panose="020B0604020202020204" pitchFamily="34" charset="0"/>
              <a:buChar char="•"/>
            </a:pPr>
            <a:r>
              <a:rPr lang="en-US" sz="1600" b="0" i="0" u="none" strike="noStrike" dirty="0">
                <a:solidFill>
                  <a:srgbClr val="50E6FF"/>
                </a:solidFill>
                <a:effectLst/>
                <a:latin typeface="+mj-lt"/>
              </a:rPr>
              <a:t> </a:t>
            </a:r>
            <a:r>
              <a:rPr lang="en-US" sz="1600" dirty="0">
                <a:solidFill>
                  <a:srgbClr val="50E6FF"/>
                </a:solidFill>
                <a:latin typeface="+mj-lt"/>
              </a:rPr>
              <a:t>Send Device Telemetry to IoT Hub</a:t>
            </a:r>
          </a:p>
          <a:p>
            <a:pPr marL="685800" lvl="1" indent="-457200">
              <a:lnSpc>
                <a:spcPct val="150000"/>
              </a:lnSpc>
              <a:buFont typeface="Arial" panose="020B0604020202020204" pitchFamily="34" charset="0"/>
              <a:buChar char="•"/>
            </a:pPr>
            <a:r>
              <a:rPr lang="en-US" sz="1600" b="0" i="0" u="none" strike="noStrike" dirty="0">
                <a:solidFill>
                  <a:srgbClr val="50E6FF"/>
                </a:solidFill>
                <a:effectLst/>
                <a:latin typeface="+mj-lt"/>
              </a:rPr>
              <a:t> Deprovision</a:t>
            </a:r>
          </a:p>
          <a:p>
            <a:pPr marL="514350" indent="-514350">
              <a:lnSpc>
                <a:spcPct val="150000"/>
              </a:lnSpc>
              <a:buFont typeface="+mj-lt"/>
              <a:buAutoNum type="arabicPeriod"/>
            </a:pPr>
            <a:r>
              <a:rPr lang="en-US" sz="2000" dirty="0">
                <a:latin typeface="+mj-lt"/>
              </a:rPr>
              <a:t>Developer Resources &amp; Getting started</a:t>
            </a:r>
          </a:p>
          <a:p>
            <a:pPr marL="514350" indent="-514350">
              <a:buFont typeface="+mj-lt"/>
              <a:buAutoNum type="arabicPeriod"/>
            </a:pPr>
            <a:endParaRPr lang="en-US" dirty="0"/>
          </a:p>
        </p:txBody>
      </p:sp>
    </p:spTree>
    <p:extLst>
      <p:ext uri="{BB962C8B-B14F-4D97-AF65-F5344CB8AC3E}">
        <p14:creationId xmlns:p14="http://schemas.microsoft.com/office/powerpoint/2010/main" val="327659335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86E78290-4809-4F09-8FA5-B41E5DD509AD}"/>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3068A2C7-E7F4-45F3-9E26-4E18B4F7051B}"/>
              </a:ext>
            </a:extLst>
          </p:cNvPr>
          <p:cNvSpPr txBox="1">
            <a:spLocks noGrp="1"/>
          </p:cNvSpPr>
          <p:nvPr>
            <p:ph type="title"/>
          </p:nvPr>
        </p:nvSpPr>
        <p:spPr>
          <a:xfrm>
            <a:off x="613238" y="162178"/>
            <a:ext cx="11018520" cy="553998"/>
          </a:xfrm>
        </p:spPr>
        <p:txBody>
          <a:bodyPr anchor="ctr">
            <a:norm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tx1"/>
                </a:solidFill>
              </a:rPr>
              <a:t>IoT Solution Architecture</a:t>
            </a:r>
          </a:p>
        </p:txBody>
      </p:sp>
      <p:sp>
        <p:nvSpPr>
          <p:cNvPr id="135" name="Rectangle 134">
            <a:extLst>
              <a:ext uri="{FF2B5EF4-FFF2-40B4-BE49-F238E27FC236}">
                <a16:creationId xmlns:a16="http://schemas.microsoft.com/office/drawing/2014/main" id="{E0C3AE10-3D51-4313-B975-854380173D56}"/>
              </a:ext>
            </a:extLst>
          </p:cNvPr>
          <p:cNvSpPr/>
          <p:nvPr/>
        </p:nvSpPr>
        <p:spPr bwMode="auto">
          <a:xfrm>
            <a:off x="748738" y="1373367"/>
            <a:ext cx="3029626" cy="4843299"/>
          </a:xfrm>
          <a:prstGeom prst="rect">
            <a:avLst/>
          </a:prstGeom>
          <a:solidFill>
            <a:sysClr val="window" lastClr="FFFFFF">
              <a:lumMod val="95000"/>
            </a:sysClr>
          </a:solidFill>
          <a:ln w="12700" cap="flat" cmpd="sng" algn="ctr">
            <a:solidFill>
              <a:srgbClr val="0478D4"/>
            </a:solidFill>
            <a:prstDash val="lgDash"/>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endParaRPr>
          </a:p>
        </p:txBody>
      </p:sp>
      <p:sp>
        <p:nvSpPr>
          <p:cNvPr id="136" name="Rectangle 135">
            <a:extLst>
              <a:ext uri="{FF2B5EF4-FFF2-40B4-BE49-F238E27FC236}">
                <a16:creationId xmlns:a16="http://schemas.microsoft.com/office/drawing/2014/main" id="{BCFF9854-DEC6-455D-AC14-572C10785217}"/>
              </a:ext>
            </a:extLst>
          </p:cNvPr>
          <p:cNvSpPr/>
          <p:nvPr/>
        </p:nvSpPr>
        <p:spPr bwMode="auto">
          <a:xfrm>
            <a:off x="3954164" y="1373366"/>
            <a:ext cx="4362780" cy="4843299"/>
          </a:xfrm>
          <a:prstGeom prst="rect">
            <a:avLst/>
          </a:prstGeom>
          <a:solidFill>
            <a:sysClr val="window" lastClr="FFFFFF">
              <a:lumMod val="95000"/>
            </a:sysClr>
          </a:solidFill>
          <a:ln w="12700" cap="flat" cmpd="sng" algn="ctr">
            <a:solidFill>
              <a:srgbClr val="0478D4"/>
            </a:solidFill>
            <a:prstDash val="lgDash"/>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endParaRPr>
          </a:p>
        </p:txBody>
      </p:sp>
      <p:sp>
        <p:nvSpPr>
          <p:cNvPr id="137" name="Rectangle 136">
            <a:extLst>
              <a:ext uri="{FF2B5EF4-FFF2-40B4-BE49-F238E27FC236}">
                <a16:creationId xmlns:a16="http://schemas.microsoft.com/office/drawing/2014/main" id="{ECAB46E6-F32B-4A12-B5A3-56B6CD2C7BC2}"/>
              </a:ext>
            </a:extLst>
          </p:cNvPr>
          <p:cNvSpPr/>
          <p:nvPr/>
        </p:nvSpPr>
        <p:spPr bwMode="auto">
          <a:xfrm>
            <a:off x="8504464" y="1373366"/>
            <a:ext cx="3029626" cy="4843299"/>
          </a:xfrm>
          <a:prstGeom prst="rect">
            <a:avLst/>
          </a:prstGeom>
          <a:solidFill>
            <a:sysClr val="window" lastClr="FFFFFF">
              <a:lumMod val="95000"/>
            </a:sysClr>
          </a:solidFill>
          <a:ln w="12700" cap="flat" cmpd="sng" algn="ctr">
            <a:solidFill>
              <a:srgbClr val="0478D4"/>
            </a:solidFill>
            <a:prstDash val="lgDash"/>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endParaRPr>
          </a:p>
        </p:txBody>
      </p:sp>
      <p:sp>
        <p:nvSpPr>
          <p:cNvPr id="138" name="Oval 137">
            <a:extLst>
              <a:ext uri="{FF2B5EF4-FFF2-40B4-BE49-F238E27FC236}">
                <a16:creationId xmlns:a16="http://schemas.microsoft.com/office/drawing/2014/main" id="{B9EC1AD9-411C-4B8C-A9AE-B615CF5713FE}"/>
              </a:ext>
            </a:extLst>
          </p:cNvPr>
          <p:cNvSpPr/>
          <p:nvPr/>
        </p:nvSpPr>
        <p:spPr bwMode="auto">
          <a:xfrm>
            <a:off x="3253896" y="3373173"/>
            <a:ext cx="1366084" cy="1221813"/>
          </a:xfrm>
          <a:prstGeom prst="ellipse">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Cloud Gateway (IoT Hub &amp; </a:t>
            </a:r>
            <a:r>
              <a:rPr kumimoji="0" lang="en-US" sz="1200" b="1"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Device Provisioning Service</a:t>
            </a:r>
            <a:r>
              <a:rPr kumimoji="0" lang="en-US" sz="1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a:t>
            </a:r>
          </a:p>
        </p:txBody>
      </p:sp>
      <p:sp>
        <p:nvSpPr>
          <p:cNvPr id="139" name="Oval 138">
            <a:extLst>
              <a:ext uri="{FF2B5EF4-FFF2-40B4-BE49-F238E27FC236}">
                <a16:creationId xmlns:a16="http://schemas.microsoft.com/office/drawing/2014/main" id="{10ECFD9B-7064-44D1-B2AF-2BE12692FB06}"/>
              </a:ext>
            </a:extLst>
          </p:cNvPr>
          <p:cNvSpPr/>
          <p:nvPr/>
        </p:nvSpPr>
        <p:spPr bwMode="auto">
          <a:xfrm>
            <a:off x="6577986" y="3373172"/>
            <a:ext cx="1221813" cy="1221813"/>
          </a:xfrm>
          <a:prstGeom prst="ellipse">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Stream Processing</a:t>
            </a:r>
          </a:p>
        </p:txBody>
      </p:sp>
      <p:sp>
        <p:nvSpPr>
          <p:cNvPr id="140" name="Oval 139">
            <a:extLst>
              <a:ext uri="{FF2B5EF4-FFF2-40B4-BE49-F238E27FC236}">
                <a16:creationId xmlns:a16="http://schemas.microsoft.com/office/drawing/2014/main" id="{29E2A4FF-451A-4F59-B402-1E586D48E02C}"/>
              </a:ext>
            </a:extLst>
          </p:cNvPr>
          <p:cNvSpPr/>
          <p:nvPr/>
        </p:nvSpPr>
        <p:spPr bwMode="auto">
          <a:xfrm>
            <a:off x="6577987" y="1928642"/>
            <a:ext cx="1221813" cy="1221813"/>
          </a:xfrm>
          <a:prstGeom prst="ellipse">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UI &amp; reporting Tools</a:t>
            </a:r>
          </a:p>
        </p:txBody>
      </p:sp>
      <p:sp>
        <p:nvSpPr>
          <p:cNvPr id="141" name="Oval 140">
            <a:extLst>
              <a:ext uri="{FF2B5EF4-FFF2-40B4-BE49-F238E27FC236}">
                <a16:creationId xmlns:a16="http://schemas.microsoft.com/office/drawing/2014/main" id="{FC74A09C-FB4C-4113-A406-7FF928DDA654}"/>
              </a:ext>
            </a:extLst>
          </p:cNvPr>
          <p:cNvSpPr/>
          <p:nvPr/>
        </p:nvSpPr>
        <p:spPr bwMode="auto">
          <a:xfrm>
            <a:off x="9993090" y="3373171"/>
            <a:ext cx="1221813" cy="1221813"/>
          </a:xfrm>
          <a:prstGeom prst="ellipse">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Business Integration</a:t>
            </a:r>
          </a:p>
        </p:txBody>
      </p:sp>
      <p:sp>
        <p:nvSpPr>
          <p:cNvPr id="142" name="Cylinder 141">
            <a:extLst>
              <a:ext uri="{FF2B5EF4-FFF2-40B4-BE49-F238E27FC236}">
                <a16:creationId xmlns:a16="http://schemas.microsoft.com/office/drawing/2014/main" id="{BE7722B3-885A-4D41-B4D8-D613A981F380}"/>
              </a:ext>
            </a:extLst>
          </p:cNvPr>
          <p:cNvSpPr/>
          <p:nvPr/>
        </p:nvSpPr>
        <p:spPr bwMode="auto">
          <a:xfrm>
            <a:off x="6327149" y="4745873"/>
            <a:ext cx="779703" cy="978550"/>
          </a:xfrm>
          <a:prstGeom prst="can">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Storage</a:t>
            </a:r>
          </a:p>
        </p:txBody>
      </p:sp>
      <p:cxnSp>
        <p:nvCxnSpPr>
          <p:cNvPr id="143" name="Connector: Elbow 142">
            <a:extLst>
              <a:ext uri="{FF2B5EF4-FFF2-40B4-BE49-F238E27FC236}">
                <a16:creationId xmlns:a16="http://schemas.microsoft.com/office/drawing/2014/main" id="{DF2D3681-8CDF-40F6-AF9A-0479812B857A}"/>
              </a:ext>
            </a:extLst>
          </p:cNvPr>
          <p:cNvCxnSpPr>
            <a:cxnSpLocks/>
            <a:stCxn id="138" idx="6"/>
            <a:endCxn id="139" idx="2"/>
          </p:cNvCxnSpPr>
          <p:nvPr/>
        </p:nvCxnSpPr>
        <p:spPr>
          <a:xfrm flipV="1">
            <a:off x="4619980" y="3984079"/>
            <a:ext cx="1958006" cy="1"/>
          </a:xfrm>
          <a:prstGeom prst="bentConnector3">
            <a:avLst/>
          </a:prstGeom>
          <a:noFill/>
          <a:ln w="19050" cap="flat" cmpd="sng" algn="ctr">
            <a:solidFill>
              <a:schemeClr val="accent3">
                <a:lumMod val="60000"/>
                <a:lumOff val="40000"/>
              </a:schemeClr>
            </a:solidFill>
            <a:prstDash val="solid"/>
            <a:miter lim="800000"/>
            <a:headEnd type="none" w="lg" len="med"/>
            <a:tailEnd type="triangle"/>
          </a:ln>
          <a:effectLst/>
        </p:spPr>
      </p:cxnSp>
      <p:cxnSp>
        <p:nvCxnSpPr>
          <p:cNvPr id="144" name="Connector: Elbow 143">
            <a:extLst>
              <a:ext uri="{FF2B5EF4-FFF2-40B4-BE49-F238E27FC236}">
                <a16:creationId xmlns:a16="http://schemas.microsoft.com/office/drawing/2014/main" id="{63927075-A386-4CE8-B5BC-BED62D416890}"/>
              </a:ext>
            </a:extLst>
          </p:cNvPr>
          <p:cNvCxnSpPr>
            <a:cxnSpLocks/>
            <a:endCxn id="142" idx="2"/>
          </p:cNvCxnSpPr>
          <p:nvPr/>
        </p:nvCxnSpPr>
        <p:spPr>
          <a:xfrm>
            <a:off x="4573857" y="4222594"/>
            <a:ext cx="1753292" cy="1012554"/>
          </a:xfrm>
          <a:prstGeom prst="bentConnector3">
            <a:avLst>
              <a:gd name="adj1" fmla="val 50000"/>
            </a:avLst>
          </a:prstGeom>
          <a:noFill/>
          <a:ln w="19050" cap="flat" cmpd="sng" algn="ctr">
            <a:solidFill>
              <a:schemeClr val="accent3">
                <a:lumMod val="60000"/>
                <a:lumOff val="40000"/>
              </a:schemeClr>
            </a:solidFill>
            <a:prstDash val="solid"/>
            <a:miter lim="800000"/>
            <a:headEnd type="none" w="lg" len="med"/>
            <a:tailEnd type="triangle"/>
          </a:ln>
          <a:effectLst/>
        </p:spPr>
      </p:cxnSp>
      <p:cxnSp>
        <p:nvCxnSpPr>
          <p:cNvPr id="145" name="Connector: Elbow 144">
            <a:extLst>
              <a:ext uri="{FF2B5EF4-FFF2-40B4-BE49-F238E27FC236}">
                <a16:creationId xmlns:a16="http://schemas.microsoft.com/office/drawing/2014/main" id="{27092EE8-798E-41C4-8667-6C1A10A50133}"/>
              </a:ext>
            </a:extLst>
          </p:cNvPr>
          <p:cNvCxnSpPr>
            <a:stCxn id="140" idx="4"/>
            <a:endCxn id="139" idx="0"/>
          </p:cNvCxnSpPr>
          <p:nvPr/>
        </p:nvCxnSpPr>
        <p:spPr>
          <a:xfrm rot="5400000">
            <a:off x="7077533" y="3261814"/>
            <a:ext cx="222718" cy="1"/>
          </a:xfrm>
          <a:prstGeom prst="bentConnector3">
            <a:avLst/>
          </a:prstGeom>
          <a:noFill/>
          <a:ln w="6350" cap="flat" cmpd="sng" algn="ctr">
            <a:solidFill>
              <a:sysClr val="windowText" lastClr="000000"/>
            </a:solidFill>
            <a:prstDash val="solid"/>
            <a:miter lim="800000"/>
            <a:headEnd type="triangle"/>
            <a:tailEnd type="triangle"/>
          </a:ln>
          <a:effectLst/>
        </p:spPr>
      </p:cxnSp>
      <p:cxnSp>
        <p:nvCxnSpPr>
          <p:cNvPr id="146" name="Straight Arrow Connector 145">
            <a:extLst>
              <a:ext uri="{FF2B5EF4-FFF2-40B4-BE49-F238E27FC236}">
                <a16:creationId xmlns:a16="http://schemas.microsoft.com/office/drawing/2014/main" id="{3312919B-A5D5-4C33-BD04-43F814E76CDD}"/>
              </a:ext>
            </a:extLst>
          </p:cNvPr>
          <p:cNvCxnSpPr>
            <a:cxnSpLocks/>
            <a:endCxn id="142" idx="1"/>
          </p:cNvCxnSpPr>
          <p:nvPr/>
        </p:nvCxnSpPr>
        <p:spPr>
          <a:xfrm flipH="1">
            <a:off x="6716999" y="4519541"/>
            <a:ext cx="153906" cy="226332"/>
          </a:xfrm>
          <a:prstGeom prst="straightConnector1">
            <a:avLst/>
          </a:prstGeom>
          <a:noFill/>
          <a:ln w="19050" cap="flat" cmpd="sng" algn="ctr">
            <a:solidFill>
              <a:schemeClr val="accent3">
                <a:lumMod val="60000"/>
                <a:lumOff val="40000"/>
              </a:schemeClr>
            </a:solidFill>
            <a:prstDash val="solid"/>
            <a:miter lim="800000"/>
            <a:headEnd type="none" w="lg" len="med"/>
            <a:tailEnd type="triangle"/>
          </a:ln>
          <a:effectLst/>
        </p:spPr>
      </p:cxnSp>
      <p:cxnSp>
        <p:nvCxnSpPr>
          <p:cNvPr id="147" name="Straight Arrow Connector 146">
            <a:extLst>
              <a:ext uri="{FF2B5EF4-FFF2-40B4-BE49-F238E27FC236}">
                <a16:creationId xmlns:a16="http://schemas.microsoft.com/office/drawing/2014/main" id="{A1D69802-69D7-422A-8C66-F1FED57DACF4}"/>
              </a:ext>
            </a:extLst>
          </p:cNvPr>
          <p:cNvCxnSpPr>
            <a:stCxn id="139" idx="6"/>
            <a:endCxn id="141" idx="2"/>
          </p:cNvCxnSpPr>
          <p:nvPr/>
        </p:nvCxnSpPr>
        <p:spPr>
          <a:xfrm flipV="1">
            <a:off x="7799798" y="3984078"/>
            <a:ext cx="2193292" cy="1"/>
          </a:xfrm>
          <a:prstGeom prst="straightConnector1">
            <a:avLst/>
          </a:prstGeom>
          <a:noFill/>
          <a:ln w="19050" cap="flat" cmpd="sng" algn="ctr">
            <a:solidFill>
              <a:schemeClr val="accent3">
                <a:lumMod val="60000"/>
                <a:lumOff val="40000"/>
              </a:schemeClr>
            </a:solidFill>
            <a:prstDash val="solid"/>
            <a:miter lim="800000"/>
            <a:headEnd type="none" w="lg" len="med"/>
            <a:tailEnd type="triangle"/>
          </a:ln>
          <a:effectLst/>
        </p:spPr>
      </p:cxnSp>
      <p:cxnSp>
        <p:nvCxnSpPr>
          <p:cNvPr id="148" name="Connector: Elbow 147">
            <a:extLst>
              <a:ext uri="{FF2B5EF4-FFF2-40B4-BE49-F238E27FC236}">
                <a16:creationId xmlns:a16="http://schemas.microsoft.com/office/drawing/2014/main" id="{E12B9AE9-4113-4BB2-A845-CDAA870F1468}"/>
              </a:ext>
            </a:extLst>
          </p:cNvPr>
          <p:cNvCxnSpPr>
            <a:cxnSpLocks/>
            <a:stCxn id="141" idx="0"/>
            <a:endCxn id="140" idx="6"/>
          </p:cNvCxnSpPr>
          <p:nvPr/>
        </p:nvCxnSpPr>
        <p:spPr>
          <a:xfrm rot="16200000" flipV="1">
            <a:off x="8785086" y="1554260"/>
            <a:ext cx="833623" cy="2804198"/>
          </a:xfrm>
          <a:prstGeom prst="bentConnector2">
            <a:avLst/>
          </a:prstGeom>
          <a:noFill/>
          <a:ln w="19050" cap="flat" cmpd="sng" algn="ctr">
            <a:solidFill>
              <a:schemeClr val="accent3">
                <a:lumMod val="60000"/>
                <a:lumOff val="40000"/>
              </a:schemeClr>
            </a:solidFill>
            <a:prstDash val="solid"/>
            <a:miter lim="800000"/>
            <a:headEnd type="none" w="lg" len="med"/>
            <a:tailEnd type="triangle"/>
          </a:ln>
          <a:effectLst/>
        </p:spPr>
      </p:cxnSp>
      <p:cxnSp>
        <p:nvCxnSpPr>
          <p:cNvPr id="149" name="Connector: Elbow 148">
            <a:extLst>
              <a:ext uri="{FF2B5EF4-FFF2-40B4-BE49-F238E27FC236}">
                <a16:creationId xmlns:a16="http://schemas.microsoft.com/office/drawing/2014/main" id="{94F6561E-95D0-4896-8D5B-2B584EA95ABD}"/>
              </a:ext>
            </a:extLst>
          </p:cNvPr>
          <p:cNvCxnSpPr>
            <a:cxnSpLocks/>
            <a:stCxn id="142" idx="3"/>
            <a:endCxn id="141" idx="4"/>
          </p:cNvCxnSpPr>
          <p:nvPr/>
        </p:nvCxnSpPr>
        <p:spPr>
          <a:xfrm rot="5400000" flipH="1" flipV="1">
            <a:off x="8095777" y="3216205"/>
            <a:ext cx="1129440" cy="3886996"/>
          </a:xfrm>
          <a:prstGeom prst="bentConnector3">
            <a:avLst>
              <a:gd name="adj1" fmla="val -5448"/>
            </a:avLst>
          </a:prstGeom>
          <a:noFill/>
          <a:ln w="19050" cap="flat" cmpd="sng" algn="ctr">
            <a:solidFill>
              <a:schemeClr val="accent3">
                <a:lumMod val="60000"/>
                <a:lumOff val="40000"/>
              </a:schemeClr>
            </a:solidFill>
            <a:prstDash val="solid"/>
            <a:miter lim="800000"/>
            <a:headEnd type="none" w="lg" len="med"/>
            <a:tailEnd type="triangle"/>
          </a:ln>
          <a:effectLst/>
        </p:spPr>
      </p:cxnSp>
      <p:sp>
        <p:nvSpPr>
          <p:cNvPr id="153" name="TextBox 152">
            <a:extLst>
              <a:ext uri="{FF2B5EF4-FFF2-40B4-BE49-F238E27FC236}">
                <a16:creationId xmlns:a16="http://schemas.microsoft.com/office/drawing/2014/main" id="{C1B276B6-D8BC-4B34-B7DD-52EF93432BB5}"/>
              </a:ext>
            </a:extLst>
          </p:cNvPr>
          <p:cNvSpPr txBox="1"/>
          <p:nvPr/>
        </p:nvSpPr>
        <p:spPr>
          <a:xfrm>
            <a:off x="5537401" y="5067393"/>
            <a:ext cx="585097" cy="153888"/>
          </a:xfrm>
          <a:prstGeom prst="rect">
            <a:avLst/>
          </a:prstGeom>
          <a:noFill/>
        </p:spPr>
        <p:txBody>
          <a:bodyPr wrap="none" lIns="0" tIns="0" rIns="0" bIns="0"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cs typeface="Segoe UI" panose="020B0502040204020203" pitchFamily="34" charset="0"/>
                <a:sym typeface="Segoe UI Semibold"/>
              </a:rPr>
              <a:t>Store data</a:t>
            </a:r>
          </a:p>
        </p:txBody>
      </p:sp>
      <p:sp>
        <p:nvSpPr>
          <p:cNvPr id="154" name="TextBox 153">
            <a:extLst>
              <a:ext uri="{FF2B5EF4-FFF2-40B4-BE49-F238E27FC236}">
                <a16:creationId xmlns:a16="http://schemas.microsoft.com/office/drawing/2014/main" id="{69920BC8-ADFF-4AC0-9A41-DAAC6CAFEB6A}"/>
              </a:ext>
            </a:extLst>
          </p:cNvPr>
          <p:cNvSpPr txBox="1"/>
          <p:nvPr/>
        </p:nvSpPr>
        <p:spPr>
          <a:xfrm>
            <a:off x="8641090" y="5594586"/>
            <a:ext cx="1768113" cy="153888"/>
          </a:xfrm>
          <a:prstGeom prst="rect">
            <a:avLst/>
          </a:prstGeom>
          <a:noFill/>
        </p:spPr>
        <p:txBody>
          <a:bodyPr wrap="none" lIns="0" tIns="0" rIns="0" bIns="0"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cs typeface="Segoe UI" panose="020B0502040204020203" pitchFamily="34" charset="0"/>
                <a:sym typeface="Segoe UI Semibold"/>
              </a:rPr>
              <a:t>Integrate with Business process</a:t>
            </a:r>
          </a:p>
        </p:txBody>
      </p:sp>
      <p:sp>
        <p:nvSpPr>
          <p:cNvPr id="155" name="TextBox 154">
            <a:extLst>
              <a:ext uri="{FF2B5EF4-FFF2-40B4-BE49-F238E27FC236}">
                <a16:creationId xmlns:a16="http://schemas.microsoft.com/office/drawing/2014/main" id="{971C44F7-0EFC-4B34-865B-0528BA79B0A3}"/>
              </a:ext>
            </a:extLst>
          </p:cNvPr>
          <p:cNvSpPr txBox="1"/>
          <p:nvPr/>
        </p:nvSpPr>
        <p:spPr>
          <a:xfrm>
            <a:off x="4701671" y="3590797"/>
            <a:ext cx="1511632" cy="307777"/>
          </a:xfrm>
          <a:prstGeom prst="rect">
            <a:avLst/>
          </a:prstGeom>
          <a:noFill/>
        </p:spPr>
        <p:txBody>
          <a:bodyPr wrap="none" lIns="0" tIns="0" rIns="0" bIns="0"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cs typeface="Segoe UI" panose="020B0502040204020203" pitchFamily="34" charset="0"/>
                <a:sym typeface="Segoe UI Semibold"/>
              </a:rPr>
              <a:t>Stream processing and</a:t>
            </a: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cs typeface="Segoe UI" panose="020B0502040204020203" pitchFamily="34" charset="0"/>
                <a:sym typeface="Segoe UI Semibold"/>
              </a:rPr>
              <a:t>rules evaluations over data</a:t>
            </a:r>
          </a:p>
        </p:txBody>
      </p:sp>
      <p:sp>
        <p:nvSpPr>
          <p:cNvPr id="156" name="TextBox 155">
            <a:extLst>
              <a:ext uri="{FF2B5EF4-FFF2-40B4-BE49-F238E27FC236}">
                <a16:creationId xmlns:a16="http://schemas.microsoft.com/office/drawing/2014/main" id="{A8AB43D5-FEBC-48D3-AB78-C7402E5B1D0D}"/>
              </a:ext>
            </a:extLst>
          </p:cNvPr>
          <p:cNvSpPr txBox="1"/>
          <p:nvPr/>
        </p:nvSpPr>
        <p:spPr>
          <a:xfrm>
            <a:off x="8700793" y="2568176"/>
            <a:ext cx="1570944" cy="153888"/>
          </a:xfrm>
          <a:prstGeom prst="rect">
            <a:avLst/>
          </a:prstGeom>
          <a:noFill/>
        </p:spPr>
        <p:txBody>
          <a:bodyPr wrap="none" lIns="0" tIns="0" rIns="0" bIns="0"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cs typeface="Segoe UI" panose="020B0502040204020203" pitchFamily="34" charset="0"/>
                <a:sym typeface="Segoe UI Semibold"/>
              </a:rPr>
              <a:t>Visualize data and learnings</a:t>
            </a:r>
          </a:p>
        </p:txBody>
      </p:sp>
      <p:cxnSp>
        <p:nvCxnSpPr>
          <p:cNvPr id="157" name="Connector: Elbow 156">
            <a:extLst>
              <a:ext uri="{FF2B5EF4-FFF2-40B4-BE49-F238E27FC236}">
                <a16:creationId xmlns:a16="http://schemas.microsoft.com/office/drawing/2014/main" id="{83879404-6F0D-4E81-A3E1-8A2379E42693}"/>
              </a:ext>
            </a:extLst>
          </p:cNvPr>
          <p:cNvCxnSpPr>
            <a:cxnSpLocks/>
            <a:stCxn id="140" idx="2"/>
            <a:endCxn id="138" idx="7"/>
          </p:cNvCxnSpPr>
          <p:nvPr/>
        </p:nvCxnSpPr>
        <p:spPr>
          <a:xfrm rot="10800000" flipV="1">
            <a:off x="4419923" y="2539549"/>
            <a:ext cx="2158065" cy="1012554"/>
          </a:xfrm>
          <a:prstGeom prst="bentConnector2">
            <a:avLst/>
          </a:prstGeom>
          <a:noFill/>
          <a:ln w="19050" cap="flat" cmpd="sng" algn="ctr">
            <a:solidFill>
              <a:schemeClr val="accent3">
                <a:lumMod val="60000"/>
                <a:lumOff val="40000"/>
              </a:schemeClr>
            </a:solidFill>
            <a:prstDash val="solid"/>
            <a:miter lim="800000"/>
            <a:headEnd type="none" w="lg" len="med"/>
            <a:tailEnd type="triangle"/>
          </a:ln>
          <a:effectLst/>
        </p:spPr>
      </p:cxnSp>
      <p:sp>
        <p:nvSpPr>
          <p:cNvPr id="158" name="TextBox 157">
            <a:extLst>
              <a:ext uri="{FF2B5EF4-FFF2-40B4-BE49-F238E27FC236}">
                <a16:creationId xmlns:a16="http://schemas.microsoft.com/office/drawing/2014/main" id="{15EAF560-435D-45FB-A141-A03FD99BCF5D}"/>
              </a:ext>
            </a:extLst>
          </p:cNvPr>
          <p:cNvSpPr txBox="1"/>
          <p:nvPr/>
        </p:nvSpPr>
        <p:spPr>
          <a:xfrm>
            <a:off x="4736314" y="2342905"/>
            <a:ext cx="1242328" cy="153888"/>
          </a:xfrm>
          <a:prstGeom prst="rect">
            <a:avLst/>
          </a:prstGeom>
          <a:noFill/>
        </p:spPr>
        <p:txBody>
          <a:bodyPr wrap="none" lIns="0" tIns="0" rIns="0" bIns="0"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cs typeface="Segoe UI" panose="020B0502040204020203" pitchFamily="34" charset="0"/>
                <a:sym typeface="Segoe UI Semibold"/>
              </a:rPr>
              <a:t>Configure and control</a:t>
            </a:r>
          </a:p>
        </p:txBody>
      </p:sp>
      <p:cxnSp>
        <p:nvCxnSpPr>
          <p:cNvPr id="159" name="Connector: Elbow 158">
            <a:extLst>
              <a:ext uri="{FF2B5EF4-FFF2-40B4-BE49-F238E27FC236}">
                <a16:creationId xmlns:a16="http://schemas.microsoft.com/office/drawing/2014/main" id="{8B6AFF43-E541-4F9B-B0A9-7BDF367286C9}"/>
              </a:ext>
            </a:extLst>
          </p:cNvPr>
          <p:cNvCxnSpPr>
            <a:cxnSpLocks/>
            <a:stCxn id="160" idx="6"/>
          </p:cNvCxnSpPr>
          <p:nvPr/>
        </p:nvCxnSpPr>
        <p:spPr>
          <a:xfrm flipV="1">
            <a:off x="2806920" y="4594983"/>
            <a:ext cx="765166" cy="847490"/>
          </a:xfrm>
          <a:prstGeom prst="bentConnector2">
            <a:avLst/>
          </a:prstGeom>
          <a:noFill/>
          <a:ln w="19050" cap="flat" cmpd="sng" algn="ctr">
            <a:solidFill>
              <a:schemeClr val="accent3">
                <a:lumMod val="60000"/>
                <a:lumOff val="40000"/>
              </a:schemeClr>
            </a:solidFill>
            <a:prstDash val="solid"/>
            <a:miter lim="800000"/>
            <a:headEnd type="triangle"/>
            <a:tailEnd type="triangle"/>
          </a:ln>
          <a:effectLst/>
        </p:spPr>
      </p:cxnSp>
      <p:sp>
        <p:nvSpPr>
          <p:cNvPr id="160" name="Oval 159">
            <a:extLst>
              <a:ext uri="{FF2B5EF4-FFF2-40B4-BE49-F238E27FC236}">
                <a16:creationId xmlns:a16="http://schemas.microsoft.com/office/drawing/2014/main" id="{FF3BF54C-B025-42D6-B7DA-C7F8D5C88149}"/>
              </a:ext>
            </a:extLst>
          </p:cNvPr>
          <p:cNvSpPr/>
          <p:nvPr/>
        </p:nvSpPr>
        <p:spPr bwMode="auto">
          <a:xfrm>
            <a:off x="1748818" y="4913422"/>
            <a:ext cx="1058102" cy="1058102"/>
          </a:xfrm>
          <a:prstGeom prst="ellipse">
            <a:avLst/>
          </a:prstGeom>
          <a:solidFill>
            <a:srgbClr val="0078D4"/>
          </a:solidFill>
          <a:ln w="12700" cap="flat" cmpd="sng" algn="ctr">
            <a:solidFill>
              <a:sysClr val="window" lastClr="FFFFFF"/>
            </a:solid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IoT Devices</a:t>
            </a:r>
          </a:p>
        </p:txBody>
      </p:sp>
      <p:sp>
        <p:nvSpPr>
          <p:cNvPr id="161" name="TextBox 160">
            <a:extLst>
              <a:ext uri="{FF2B5EF4-FFF2-40B4-BE49-F238E27FC236}">
                <a16:creationId xmlns:a16="http://schemas.microsoft.com/office/drawing/2014/main" id="{1A3C109B-2929-47F4-A780-94EE16D5664A}"/>
              </a:ext>
            </a:extLst>
          </p:cNvPr>
          <p:cNvSpPr txBox="1"/>
          <p:nvPr/>
        </p:nvSpPr>
        <p:spPr>
          <a:xfrm>
            <a:off x="818723" y="5068119"/>
            <a:ext cx="921988" cy="769241"/>
          </a:xfrm>
          <a:prstGeom prst="rect">
            <a:avLst/>
          </a:prstGeom>
          <a:noFill/>
        </p:spPr>
        <p:txBody>
          <a:bodyPr wrap="square" lIns="0" tIns="0" rIns="0" bIns="0"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cs typeface="Segoe UI" panose="020B0502040204020203" pitchFamily="34" charset="0"/>
                <a:sym typeface="Segoe UI Semibold"/>
              </a:rPr>
              <a:t>IP Capable devices</a:t>
            </a: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cs typeface="Segoe UI" panose="020B0502040204020203" pitchFamily="34" charset="0"/>
                <a:sym typeface="Segoe UI Semibold"/>
              </a:rPr>
              <a:t>send data from devices to Cloud</a:t>
            </a:r>
          </a:p>
        </p:txBody>
      </p:sp>
      <p:sp>
        <p:nvSpPr>
          <p:cNvPr id="162" name="Cylinder 161">
            <a:extLst>
              <a:ext uri="{FF2B5EF4-FFF2-40B4-BE49-F238E27FC236}">
                <a16:creationId xmlns:a16="http://schemas.microsoft.com/office/drawing/2014/main" id="{AEF45AB7-F572-4C14-912F-E664985132B8}"/>
              </a:ext>
            </a:extLst>
          </p:cNvPr>
          <p:cNvSpPr/>
          <p:nvPr/>
        </p:nvSpPr>
        <p:spPr bwMode="auto">
          <a:xfrm>
            <a:off x="6327149" y="4745873"/>
            <a:ext cx="779703" cy="978550"/>
          </a:xfrm>
          <a:prstGeom prst="can">
            <a:avLst/>
          </a:prstGeom>
          <a:solidFill>
            <a:srgbClr val="0078D4"/>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Warm</a:t>
            </a:r>
          </a:p>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Path store</a:t>
            </a:r>
          </a:p>
        </p:txBody>
      </p:sp>
      <p:sp>
        <p:nvSpPr>
          <p:cNvPr id="163" name="Cylinder 162">
            <a:extLst>
              <a:ext uri="{FF2B5EF4-FFF2-40B4-BE49-F238E27FC236}">
                <a16:creationId xmlns:a16="http://schemas.microsoft.com/office/drawing/2014/main" id="{720AEB84-8D6C-401B-8932-6254FDCEDDDC}"/>
              </a:ext>
            </a:extLst>
          </p:cNvPr>
          <p:cNvSpPr/>
          <p:nvPr/>
        </p:nvSpPr>
        <p:spPr bwMode="auto">
          <a:xfrm>
            <a:off x="7321376" y="4745872"/>
            <a:ext cx="779703" cy="978550"/>
          </a:xfrm>
          <a:prstGeom prst="can">
            <a:avLst/>
          </a:prstGeom>
          <a:solidFill>
            <a:srgbClr val="00BCF2"/>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Cold</a:t>
            </a:r>
          </a:p>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Path store</a:t>
            </a:r>
          </a:p>
        </p:txBody>
      </p:sp>
      <p:sp>
        <p:nvSpPr>
          <p:cNvPr id="164" name="Oval 163">
            <a:extLst>
              <a:ext uri="{FF2B5EF4-FFF2-40B4-BE49-F238E27FC236}">
                <a16:creationId xmlns:a16="http://schemas.microsoft.com/office/drawing/2014/main" id="{D9579969-42AF-42BB-B1A1-1DEB31744609}"/>
              </a:ext>
            </a:extLst>
          </p:cNvPr>
          <p:cNvSpPr/>
          <p:nvPr/>
        </p:nvSpPr>
        <p:spPr bwMode="auto">
          <a:xfrm>
            <a:off x="4614722" y="4361337"/>
            <a:ext cx="1463438" cy="687851"/>
          </a:xfrm>
          <a:prstGeom prst="ellipse">
            <a:avLst/>
          </a:prstGeom>
          <a:solidFill>
            <a:srgbClr val="00BCF2"/>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Data Transformation</a:t>
            </a:r>
          </a:p>
        </p:txBody>
      </p:sp>
      <p:sp>
        <p:nvSpPr>
          <p:cNvPr id="165" name="Oval 164">
            <a:extLst>
              <a:ext uri="{FF2B5EF4-FFF2-40B4-BE49-F238E27FC236}">
                <a16:creationId xmlns:a16="http://schemas.microsoft.com/office/drawing/2014/main" id="{28E1089B-ED5A-46F5-9E45-992CABEF1D0B}"/>
              </a:ext>
            </a:extLst>
          </p:cNvPr>
          <p:cNvSpPr/>
          <p:nvPr/>
        </p:nvSpPr>
        <p:spPr bwMode="auto">
          <a:xfrm>
            <a:off x="8700133" y="4265013"/>
            <a:ext cx="1221813" cy="1221813"/>
          </a:xfrm>
          <a:prstGeom prst="ellipse">
            <a:avLst/>
          </a:prstGeom>
          <a:solidFill>
            <a:srgbClr val="00BCF2"/>
          </a:solidFill>
          <a:ln w="12700" cap="flat" cmpd="sng" algn="ctr">
            <a:no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Machine Learning</a:t>
            </a:r>
          </a:p>
        </p:txBody>
      </p:sp>
      <p:cxnSp>
        <p:nvCxnSpPr>
          <p:cNvPr id="166" name="Straight Arrow Connector 165">
            <a:extLst>
              <a:ext uri="{FF2B5EF4-FFF2-40B4-BE49-F238E27FC236}">
                <a16:creationId xmlns:a16="http://schemas.microsoft.com/office/drawing/2014/main" id="{AD334FCF-C151-4E35-A183-C583E0BE809A}"/>
              </a:ext>
            </a:extLst>
          </p:cNvPr>
          <p:cNvCxnSpPr>
            <a:cxnSpLocks/>
          </p:cNvCxnSpPr>
          <p:nvPr/>
        </p:nvCxnSpPr>
        <p:spPr>
          <a:xfrm>
            <a:off x="7499562" y="4532004"/>
            <a:ext cx="211665" cy="213869"/>
          </a:xfrm>
          <a:prstGeom prst="straightConnector1">
            <a:avLst/>
          </a:prstGeom>
          <a:noFill/>
          <a:ln w="19050" cap="flat" cmpd="sng" algn="ctr">
            <a:solidFill>
              <a:schemeClr val="accent3">
                <a:lumMod val="60000"/>
                <a:lumOff val="40000"/>
              </a:schemeClr>
            </a:solidFill>
            <a:prstDash val="solid"/>
            <a:miter lim="800000"/>
            <a:headEnd type="none" w="lg" len="med"/>
            <a:tailEnd type="triangle"/>
          </a:ln>
          <a:effectLst/>
        </p:spPr>
      </p:cxnSp>
      <p:cxnSp>
        <p:nvCxnSpPr>
          <p:cNvPr id="167" name="Straight Arrow Connector 166">
            <a:extLst>
              <a:ext uri="{FF2B5EF4-FFF2-40B4-BE49-F238E27FC236}">
                <a16:creationId xmlns:a16="http://schemas.microsoft.com/office/drawing/2014/main" id="{A2112EB5-4DE4-42C8-8ADB-17B728DF6688}"/>
              </a:ext>
            </a:extLst>
          </p:cNvPr>
          <p:cNvCxnSpPr>
            <a:cxnSpLocks/>
          </p:cNvCxnSpPr>
          <p:nvPr/>
        </p:nvCxnSpPr>
        <p:spPr>
          <a:xfrm flipH="1">
            <a:off x="8101078" y="4875919"/>
            <a:ext cx="599054" cy="359228"/>
          </a:xfrm>
          <a:prstGeom prst="straightConnector1">
            <a:avLst/>
          </a:prstGeom>
          <a:noFill/>
          <a:ln w="19050" cap="flat" cmpd="sng" algn="ctr">
            <a:solidFill>
              <a:schemeClr val="accent3">
                <a:lumMod val="60000"/>
                <a:lumOff val="40000"/>
              </a:schemeClr>
            </a:solidFill>
            <a:prstDash val="solid"/>
            <a:miter lim="800000"/>
            <a:headEnd type="triangle"/>
            <a:tailEnd type="triangle"/>
          </a:ln>
          <a:effectLst/>
        </p:spPr>
      </p:cxnSp>
      <p:grpSp>
        <p:nvGrpSpPr>
          <p:cNvPr id="168" name="Group 167">
            <a:extLst>
              <a:ext uri="{FF2B5EF4-FFF2-40B4-BE49-F238E27FC236}">
                <a16:creationId xmlns:a16="http://schemas.microsoft.com/office/drawing/2014/main" id="{956A417B-D6FF-4BA9-9F2A-6037D8FF847C}"/>
              </a:ext>
            </a:extLst>
          </p:cNvPr>
          <p:cNvGrpSpPr/>
          <p:nvPr/>
        </p:nvGrpSpPr>
        <p:grpSpPr>
          <a:xfrm>
            <a:off x="5900355" y="6288154"/>
            <a:ext cx="429769" cy="429769"/>
            <a:chOff x="5086392" y="1448771"/>
            <a:chExt cx="1261176" cy="1261176"/>
          </a:xfrm>
        </p:grpSpPr>
        <p:sp>
          <p:nvSpPr>
            <p:cNvPr id="169" name="Oval 168">
              <a:extLst>
                <a:ext uri="{FF2B5EF4-FFF2-40B4-BE49-F238E27FC236}">
                  <a16:creationId xmlns:a16="http://schemas.microsoft.com/office/drawing/2014/main" id="{A7C6A3C7-CE05-4035-91E1-3E541F002D95}"/>
                </a:ext>
              </a:extLst>
            </p:cNvPr>
            <p:cNvSpPr/>
            <p:nvPr/>
          </p:nvSpPr>
          <p:spPr bwMode="auto">
            <a:xfrm>
              <a:off x="5086392" y="1448771"/>
              <a:ext cx="1261176" cy="1261176"/>
            </a:xfrm>
            <a:prstGeom prst="ellipse">
              <a:avLst/>
            </a:prstGeom>
            <a:noFill/>
            <a:ln w="1905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en-US" sz="1799"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sym typeface="Segoe UI Semibold"/>
              </a:endParaRPr>
            </a:p>
          </p:txBody>
        </p:sp>
        <p:sp>
          <p:nvSpPr>
            <p:cNvPr id="170" name="Freeform: Shape 169">
              <a:extLst>
                <a:ext uri="{FF2B5EF4-FFF2-40B4-BE49-F238E27FC236}">
                  <a16:creationId xmlns:a16="http://schemas.microsoft.com/office/drawing/2014/main" id="{41E089EC-ABFC-4764-BE80-2E80393CD401}"/>
                </a:ext>
              </a:extLst>
            </p:cNvPr>
            <p:cNvSpPr>
              <a:spLocks/>
            </p:cNvSpPr>
            <p:nvPr/>
          </p:nvSpPr>
          <p:spPr bwMode="auto">
            <a:xfrm>
              <a:off x="5452870" y="1674731"/>
              <a:ext cx="528220" cy="858045"/>
            </a:xfrm>
            <a:custGeom>
              <a:avLst/>
              <a:gdLst>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377800 w 528287"/>
                <a:gd name="connsiteY32" fmla="*/ 94874 h 858155"/>
                <a:gd name="connsiteX33" fmla="*/ 143953 w 528287"/>
                <a:gd name="connsiteY33" fmla="*/ 99114 h 858155"/>
                <a:gd name="connsiteX34" fmla="*/ 65532 w 528287"/>
                <a:gd name="connsiteY34" fmla="*/ 281902 h 858155"/>
                <a:gd name="connsiteX35" fmla="*/ 117970 w 528287"/>
                <a:gd name="connsiteY35" fmla="*/ 409570 h 858155"/>
                <a:gd name="connsiteX36" fmla="*/ 183636 w 528287"/>
                <a:gd name="connsiteY36" fmla="*/ 538652 h 858155"/>
                <a:gd name="connsiteX37" fmla="*/ 197809 w 528287"/>
                <a:gd name="connsiteY37" fmla="*/ 621566 h 858155"/>
                <a:gd name="connsiteX38" fmla="*/ 142064 w 528287"/>
                <a:gd name="connsiteY38" fmla="*/ 621566 h 858155"/>
                <a:gd name="connsiteX39" fmla="*/ 134977 w 528287"/>
                <a:gd name="connsiteY39" fmla="*/ 614028 h 858155"/>
                <a:gd name="connsiteX40" fmla="*/ 93405 w 528287"/>
                <a:gd name="connsiteY40" fmla="*/ 493426 h 858155"/>
                <a:gd name="connsiteX41" fmla="*/ 28684 w 528287"/>
                <a:gd name="connsiteY41" fmla="*/ 376122 h 858155"/>
                <a:gd name="connsiteX42" fmla="*/ 6008 w 528287"/>
                <a:gd name="connsiteY42" fmla="*/ 196632 h 858155"/>
                <a:gd name="connsiteX43" fmla="*/ 131671 w 528287"/>
                <a:gd name="connsiteY43" fmla="*/ 32218 h 858155"/>
                <a:gd name="connsiteX44" fmla="*/ 266900 w 528287"/>
                <a:gd name="connsiteY44"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377800 w 528287"/>
                <a:gd name="connsiteY32" fmla="*/ 94874 h 858155"/>
                <a:gd name="connsiteX33" fmla="*/ 65532 w 528287"/>
                <a:gd name="connsiteY33" fmla="*/ 281902 h 858155"/>
                <a:gd name="connsiteX34" fmla="*/ 117970 w 528287"/>
                <a:gd name="connsiteY34" fmla="*/ 409570 h 858155"/>
                <a:gd name="connsiteX35" fmla="*/ 183636 w 528287"/>
                <a:gd name="connsiteY35" fmla="*/ 538652 h 858155"/>
                <a:gd name="connsiteX36" fmla="*/ 197809 w 528287"/>
                <a:gd name="connsiteY36" fmla="*/ 621566 h 858155"/>
                <a:gd name="connsiteX37" fmla="*/ 142064 w 528287"/>
                <a:gd name="connsiteY37" fmla="*/ 621566 h 858155"/>
                <a:gd name="connsiteX38" fmla="*/ 134977 w 528287"/>
                <a:gd name="connsiteY38" fmla="*/ 614028 h 858155"/>
                <a:gd name="connsiteX39" fmla="*/ 93405 w 528287"/>
                <a:gd name="connsiteY39" fmla="*/ 493426 h 858155"/>
                <a:gd name="connsiteX40" fmla="*/ 28684 w 528287"/>
                <a:gd name="connsiteY40" fmla="*/ 376122 h 858155"/>
                <a:gd name="connsiteX41" fmla="*/ 6008 w 528287"/>
                <a:gd name="connsiteY41" fmla="*/ 196632 h 858155"/>
                <a:gd name="connsiteX42" fmla="*/ 131671 w 528287"/>
                <a:gd name="connsiteY42" fmla="*/ 32218 h 858155"/>
                <a:gd name="connsiteX43" fmla="*/ 266900 w 528287"/>
                <a:gd name="connsiteY43"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377800 w 528287"/>
                <a:gd name="connsiteY32" fmla="*/ 94874 h 858155"/>
                <a:gd name="connsiteX33" fmla="*/ 117970 w 528287"/>
                <a:gd name="connsiteY33" fmla="*/ 409570 h 858155"/>
                <a:gd name="connsiteX34" fmla="*/ 183636 w 528287"/>
                <a:gd name="connsiteY34" fmla="*/ 538652 h 858155"/>
                <a:gd name="connsiteX35" fmla="*/ 197809 w 528287"/>
                <a:gd name="connsiteY35" fmla="*/ 621566 h 858155"/>
                <a:gd name="connsiteX36" fmla="*/ 142064 w 528287"/>
                <a:gd name="connsiteY36" fmla="*/ 621566 h 858155"/>
                <a:gd name="connsiteX37" fmla="*/ 134977 w 528287"/>
                <a:gd name="connsiteY37" fmla="*/ 614028 h 858155"/>
                <a:gd name="connsiteX38" fmla="*/ 93405 w 528287"/>
                <a:gd name="connsiteY38" fmla="*/ 493426 h 858155"/>
                <a:gd name="connsiteX39" fmla="*/ 28684 w 528287"/>
                <a:gd name="connsiteY39" fmla="*/ 376122 h 858155"/>
                <a:gd name="connsiteX40" fmla="*/ 6008 w 528287"/>
                <a:gd name="connsiteY40" fmla="*/ 196632 h 858155"/>
                <a:gd name="connsiteX41" fmla="*/ 131671 w 528287"/>
                <a:gd name="connsiteY41" fmla="*/ 32218 h 858155"/>
                <a:gd name="connsiteX42" fmla="*/ 266900 w 528287"/>
                <a:gd name="connsiteY42"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117970 w 528287"/>
                <a:gd name="connsiteY32" fmla="*/ 409570 h 858155"/>
                <a:gd name="connsiteX33" fmla="*/ 183636 w 528287"/>
                <a:gd name="connsiteY33" fmla="*/ 538652 h 858155"/>
                <a:gd name="connsiteX34" fmla="*/ 197809 w 528287"/>
                <a:gd name="connsiteY34" fmla="*/ 621566 h 858155"/>
                <a:gd name="connsiteX35" fmla="*/ 142064 w 528287"/>
                <a:gd name="connsiteY35" fmla="*/ 621566 h 858155"/>
                <a:gd name="connsiteX36" fmla="*/ 134977 w 528287"/>
                <a:gd name="connsiteY36" fmla="*/ 614028 h 858155"/>
                <a:gd name="connsiteX37" fmla="*/ 93405 w 528287"/>
                <a:gd name="connsiteY37" fmla="*/ 493426 h 858155"/>
                <a:gd name="connsiteX38" fmla="*/ 28684 w 528287"/>
                <a:gd name="connsiteY38" fmla="*/ 376122 h 858155"/>
                <a:gd name="connsiteX39" fmla="*/ 6008 w 528287"/>
                <a:gd name="connsiteY39" fmla="*/ 196632 h 858155"/>
                <a:gd name="connsiteX40" fmla="*/ 131671 w 528287"/>
                <a:gd name="connsiteY40" fmla="*/ 32218 h 858155"/>
                <a:gd name="connsiteX41" fmla="*/ 266900 w 528287"/>
                <a:gd name="connsiteY41"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117970 w 528287"/>
                <a:gd name="connsiteY31" fmla="*/ 409570 h 858155"/>
                <a:gd name="connsiteX32" fmla="*/ 183636 w 528287"/>
                <a:gd name="connsiteY32" fmla="*/ 538652 h 858155"/>
                <a:gd name="connsiteX33" fmla="*/ 197809 w 528287"/>
                <a:gd name="connsiteY33" fmla="*/ 621566 h 858155"/>
                <a:gd name="connsiteX34" fmla="*/ 142064 w 528287"/>
                <a:gd name="connsiteY34" fmla="*/ 621566 h 858155"/>
                <a:gd name="connsiteX35" fmla="*/ 134977 w 528287"/>
                <a:gd name="connsiteY35" fmla="*/ 614028 h 858155"/>
                <a:gd name="connsiteX36" fmla="*/ 93405 w 528287"/>
                <a:gd name="connsiteY36" fmla="*/ 493426 h 858155"/>
                <a:gd name="connsiteX37" fmla="*/ 28684 w 528287"/>
                <a:gd name="connsiteY37" fmla="*/ 376122 h 858155"/>
                <a:gd name="connsiteX38" fmla="*/ 6008 w 528287"/>
                <a:gd name="connsiteY38" fmla="*/ 196632 h 858155"/>
                <a:gd name="connsiteX39" fmla="*/ 131671 w 528287"/>
                <a:gd name="connsiteY39" fmla="*/ 32218 h 858155"/>
                <a:gd name="connsiteX40" fmla="*/ 266900 w 528287"/>
                <a:gd name="connsiteY40"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117970 w 528287"/>
                <a:gd name="connsiteY30" fmla="*/ 409570 h 858155"/>
                <a:gd name="connsiteX31" fmla="*/ 183636 w 528287"/>
                <a:gd name="connsiteY31" fmla="*/ 538652 h 858155"/>
                <a:gd name="connsiteX32" fmla="*/ 197809 w 528287"/>
                <a:gd name="connsiteY32" fmla="*/ 621566 h 858155"/>
                <a:gd name="connsiteX33" fmla="*/ 142064 w 528287"/>
                <a:gd name="connsiteY33" fmla="*/ 621566 h 858155"/>
                <a:gd name="connsiteX34" fmla="*/ 134977 w 528287"/>
                <a:gd name="connsiteY34" fmla="*/ 614028 h 858155"/>
                <a:gd name="connsiteX35" fmla="*/ 93405 w 528287"/>
                <a:gd name="connsiteY35" fmla="*/ 493426 h 858155"/>
                <a:gd name="connsiteX36" fmla="*/ 28684 w 528287"/>
                <a:gd name="connsiteY36" fmla="*/ 376122 h 858155"/>
                <a:gd name="connsiteX37" fmla="*/ 6008 w 528287"/>
                <a:gd name="connsiteY37" fmla="*/ 196632 h 858155"/>
                <a:gd name="connsiteX38" fmla="*/ 131671 w 528287"/>
                <a:gd name="connsiteY38" fmla="*/ 32218 h 858155"/>
                <a:gd name="connsiteX39" fmla="*/ 266900 w 528287"/>
                <a:gd name="connsiteY39"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183636 w 528287"/>
                <a:gd name="connsiteY30" fmla="*/ 538652 h 858155"/>
                <a:gd name="connsiteX31" fmla="*/ 197809 w 528287"/>
                <a:gd name="connsiteY31" fmla="*/ 621566 h 858155"/>
                <a:gd name="connsiteX32" fmla="*/ 142064 w 528287"/>
                <a:gd name="connsiteY32" fmla="*/ 621566 h 858155"/>
                <a:gd name="connsiteX33" fmla="*/ 134977 w 528287"/>
                <a:gd name="connsiteY33" fmla="*/ 614028 h 858155"/>
                <a:gd name="connsiteX34" fmla="*/ 93405 w 528287"/>
                <a:gd name="connsiteY34" fmla="*/ 493426 h 858155"/>
                <a:gd name="connsiteX35" fmla="*/ 28684 w 528287"/>
                <a:gd name="connsiteY35" fmla="*/ 376122 h 858155"/>
                <a:gd name="connsiteX36" fmla="*/ 6008 w 528287"/>
                <a:gd name="connsiteY36" fmla="*/ 196632 h 858155"/>
                <a:gd name="connsiteX37" fmla="*/ 131671 w 528287"/>
                <a:gd name="connsiteY37" fmla="*/ 32218 h 858155"/>
                <a:gd name="connsiteX38" fmla="*/ 266900 w 528287"/>
                <a:gd name="connsiteY38"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197809 w 528287"/>
                <a:gd name="connsiteY30" fmla="*/ 621566 h 858155"/>
                <a:gd name="connsiteX31" fmla="*/ 142064 w 528287"/>
                <a:gd name="connsiteY31" fmla="*/ 621566 h 858155"/>
                <a:gd name="connsiteX32" fmla="*/ 134977 w 528287"/>
                <a:gd name="connsiteY32" fmla="*/ 614028 h 858155"/>
                <a:gd name="connsiteX33" fmla="*/ 93405 w 528287"/>
                <a:gd name="connsiteY33" fmla="*/ 493426 h 858155"/>
                <a:gd name="connsiteX34" fmla="*/ 28684 w 528287"/>
                <a:gd name="connsiteY34" fmla="*/ 376122 h 858155"/>
                <a:gd name="connsiteX35" fmla="*/ 6008 w 528287"/>
                <a:gd name="connsiteY35" fmla="*/ 196632 h 858155"/>
                <a:gd name="connsiteX36" fmla="*/ 131671 w 528287"/>
                <a:gd name="connsiteY36" fmla="*/ 32218 h 858155"/>
                <a:gd name="connsiteX37" fmla="*/ 266900 w 528287"/>
                <a:gd name="connsiteY37"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197809 w 528287"/>
                <a:gd name="connsiteY29" fmla="*/ 621566 h 858155"/>
                <a:gd name="connsiteX30" fmla="*/ 142064 w 528287"/>
                <a:gd name="connsiteY30" fmla="*/ 621566 h 858155"/>
                <a:gd name="connsiteX31" fmla="*/ 134977 w 528287"/>
                <a:gd name="connsiteY31" fmla="*/ 614028 h 858155"/>
                <a:gd name="connsiteX32" fmla="*/ 93405 w 528287"/>
                <a:gd name="connsiteY32" fmla="*/ 493426 h 858155"/>
                <a:gd name="connsiteX33" fmla="*/ 28684 w 528287"/>
                <a:gd name="connsiteY33" fmla="*/ 376122 h 858155"/>
                <a:gd name="connsiteX34" fmla="*/ 6008 w 528287"/>
                <a:gd name="connsiteY34" fmla="*/ 196632 h 858155"/>
                <a:gd name="connsiteX35" fmla="*/ 131671 w 528287"/>
                <a:gd name="connsiteY35" fmla="*/ 32218 h 858155"/>
                <a:gd name="connsiteX36" fmla="*/ 266900 w 528287"/>
                <a:gd name="connsiteY36" fmla="*/ 6 h 85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28287" h="858155">
                  <a:moveTo>
                    <a:pt x="180897" y="808532"/>
                  </a:moveTo>
                  <a:lnTo>
                    <a:pt x="351275" y="808532"/>
                  </a:lnTo>
                  <a:cubicBezTo>
                    <a:pt x="332869" y="824175"/>
                    <a:pt x="317294" y="838396"/>
                    <a:pt x="300775" y="851668"/>
                  </a:cubicBezTo>
                  <a:cubicBezTo>
                    <a:pt x="296056" y="855461"/>
                    <a:pt x="288504" y="857831"/>
                    <a:pt x="281897" y="857831"/>
                  </a:cubicBezTo>
                  <a:cubicBezTo>
                    <a:pt x="226206" y="857357"/>
                    <a:pt x="239892" y="864941"/>
                    <a:pt x="198832" y="827019"/>
                  </a:cubicBezTo>
                  <a:cubicBezTo>
                    <a:pt x="192696" y="821331"/>
                    <a:pt x="187505" y="815168"/>
                    <a:pt x="180897" y="808532"/>
                  </a:cubicBezTo>
                  <a:close/>
                  <a:moveTo>
                    <a:pt x="182285" y="731401"/>
                  </a:moveTo>
                  <a:lnTo>
                    <a:pt x="347585" y="731401"/>
                  </a:lnTo>
                  <a:cubicBezTo>
                    <a:pt x="365532" y="731401"/>
                    <a:pt x="375450" y="740280"/>
                    <a:pt x="375450" y="755235"/>
                  </a:cubicBezTo>
                  <a:cubicBezTo>
                    <a:pt x="374978" y="770189"/>
                    <a:pt x="365532" y="778134"/>
                    <a:pt x="347585" y="778134"/>
                  </a:cubicBezTo>
                  <a:cubicBezTo>
                    <a:pt x="320193" y="778601"/>
                    <a:pt x="292328" y="778601"/>
                    <a:pt x="264935" y="778601"/>
                  </a:cubicBezTo>
                  <a:lnTo>
                    <a:pt x="181813" y="778134"/>
                  </a:lnTo>
                  <a:cubicBezTo>
                    <a:pt x="165283" y="778134"/>
                    <a:pt x="154420" y="768787"/>
                    <a:pt x="154893" y="754300"/>
                  </a:cubicBezTo>
                  <a:cubicBezTo>
                    <a:pt x="155365" y="740280"/>
                    <a:pt x="165283" y="731401"/>
                    <a:pt x="182285" y="731401"/>
                  </a:cubicBezTo>
                  <a:close/>
                  <a:moveTo>
                    <a:pt x="174924" y="655422"/>
                  </a:moveTo>
                  <a:lnTo>
                    <a:pt x="354947" y="655422"/>
                  </a:lnTo>
                  <a:cubicBezTo>
                    <a:pt x="369633" y="655422"/>
                    <a:pt x="379581" y="664350"/>
                    <a:pt x="379581" y="677976"/>
                  </a:cubicBezTo>
                  <a:cubicBezTo>
                    <a:pt x="380055" y="691133"/>
                    <a:pt x="370107" y="701000"/>
                    <a:pt x="355421" y="701000"/>
                  </a:cubicBezTo>
                  <a:cubicBezTo>
                    <a:pt x="325575" y="701470"/>
                    <a:pt x="295255" y="701000"/>
                    <a:pt x="264935" y="701000"/>
                  </a:cubicBezTo>
                  <a:lnTo>
                    <a:pt x="175397" y="701000"/>
                  </a:lnTo>
                  <a:cubicBezTo>
                    <a:pt x="159764" y="701000"/>
                    <a:pt x="150289" y="692542"/>
                    <a:pt x="149815" y="678446"/>
                  </a:cubicBezTo>
                  <a:cubicBezTo>
                    <a:pt x="149815" y="664350"/>
                    <a:pt x="159290" y="655422"/>
                    <a:pt x="174924" y="655422"/>
                  </a:cubicBezTo>
                  <a:close/>
                  <a:moveTo>
                    <a:pt x="266900" y="6"/>
                  </a:moveTo>
                  <a:cubicBezTo>
                    <a:pt x="312016" y="300"/>
                    <a:pt x="357014" y="11725"/>
                    <a:pt x="401421" y="34573"/>
                  </a:cubicBezTo>
                  <a:cubicBezTo>
                    <a:pt x="484566" y="77914"/>
                    <a:pt x="523777" y="149993"/>
                    <a:pt x="528029" y="242329"/>
                  </a:cubicBezTo>
                  <a:cubicBezTo>
                    <a:pt x="530863" y="305928"/>
                    <a:pt x="510077" y="362460"/>
                    <a:pt x="479842" y="416637"/>
                  </a:cubicBezTo>
                  <a:cubicBezTo>
                    <a:pt x="470394" y="433125"/>
                    <a:pt x="460945" y="450085"/>
                    <a:pt x="451025" y="466574"/>
                  </a:cubicBezTo>
                  <a:cubicBezTo>
                    <a:pt x="422680" y="514626"/>
                    <a:pt x="393862" y="562207"/>
                    <a:pt x="393390" y="621095"/>
                  </a:cubicBezTo>
                  <a:lnTo>
                    <a:pt x="331503" y="621095"/>
                  </a:lnTo>
                  <a:lnTo>
                    <a:pt x="197809" y="621566"/>
                  </a:lnTo>
                  <a:cubicBezTo>
                    <a:pt x="177967" y="621566"/>
                    <a:pt x="160016" y="622037"/>
                    <a:pt x="142064" y="621566"/>
                  </a:cubicBezTo>
                  <a:cubicBezTo>
                    <a:pt x="139702" y="621095"/>
                    <a:pt x="135450" y="616855"/>
                    <a:pt x="134977" y="614028"/>
                  </a:cubicBezTo>
                  <a:cubicBezTo>
                    <a:pt x="133088" y="569745"/>
                    <a:pt x="114191" y="531114"/>
                    <a:pt x="93405" y="493426"/>
                  </a:cubicBezTo>
                  <a:cubicBezTo>
                    <a:pt x="71674" y="454325"/>
                    <a:pt x="48525" y="416166"/>
                    <a:pt x="28684" y="376122"/>
                  </a:cubicBezTo>
                  <a:cubicBezTo>
                    <a:pt x="811" y="319119"/>
                    <a:pt x="-6748" y="258818"/>
                    <a:pt x="6008" y="196632"/>
                  </a:cubicBezTo>
                  <a:cubicBezTo>
                    <a:pt x="21125" y="121256"/>
                    <a:pt x="63170" y="65666"/>
                    <a:pt x="131671" y="32218"/>
                  </a:cubicBezTo>
                  <a:cubicBezTo>
                    <a:pt x="176550" y="10547"/>
                    <a:pt x="221784" y="-288"/>
                    <a:pt x="266900" y="6"/>
                  </a:cubicBezTo>
                  <a:close/>
                </a:path>
              </a:pathLst>
            </a:custGeom>
            <a:noFill/>
            <a:ln w="12700">
              <a:solidFill>
                <a:schemeClr val="tx1"/>
              </a:solidFill>
              <a:round/>
              <a:headEnd/>
              <a:tailEnd/>
            </a:ln>
          </p:spPr>
          <p:txBody>
            <a:bodyPr vert="horz" wrap="square" lIns="93211" tIns="46605" rIns="93211" bIns="46605" numCol="1" anchor="t" anchorCtr="0" compatLnSpc="1">
              <a:prstTxWarp prst="textNoShape">
                <a:avLst/>
              </a:prstTxWarp>
              <a:noAutofit/>
            </a:bodyPr>
            <a:lstStyle/>
            <a:p>
              <a:pPr marL="0" marR="0" lvl="0" indent="0" algn="l" defTabSz="932227" rtl="0" eaLnBrk="1" fontAlgn="auto" latinLnBrk="0" hangingPunct="1">
                <a:lnSpc>
                  <a:spcPct val="100000"/>
                </a:lnSpc>
                <a:spcBef>
                  <a:spcPts val="0"/>
                </a:spcBef>
                <a:spcAft>
                  <a:spcPts val="0"/>
                </a:spcAft>
                <a:buClrTx/>
                <a:buSzTx/>
                <a:buFontTx/>
                <a:buNone/>
                <a:tabLst/>
                <a:defRPr/>
              </a:pPr>
              <a:endParaRPr kumimoji="0" lang="en-US" sz="3999" b="0" i="0" u="none" strike="noStrike" kern="1200" cap="none" spc="0" normalizeH="0" baseline="0" noProof="0">
                <a:ln>
                  <a:noFill/>
                </a:ln>
                <a:effectLst/>
                <a:uLnTx/>
                <a:uFillTx/>
                <a:latin typeface="Segoe UI" panose="020B0502040204020203" pitchFamily="34" charset="0"/>
                <a:cs typeface="Segoe UI" panose="020B0502040204020203" pitchFamily="34" charset="0"/>
                <a:sym typeface="Segoe UI Semibold"/>
              </a:endParaRPr>
            </a:p>
          </p:txBody>
        </p:sp>
      </p:grpSp>
      <p:grpSp>
        <p:nvGrpSpPr>
          <p:cNvPr id="171" name="Group 170">
            <a:extLst>
              <a:ext uri="{FF2B5EF4-FFF2-40B4-BE49-F238E27FC236}">
                <a16:creationId xmlns:a16="http://schemas.microsoft.com/office/drawing/2014/main" id="{CB5545D4-D525-4AB9-8681-1769CCAE67C9}"/>
              </a:ext>
            </a:extLst>
          </p:cNvPr>
          <p:cNvGrpSpPr/>
          <p:nvPr/>
        </p:nvGrpSpPr>
        <p:grpSpPr>
          <a:xfrm>
            <a:off x="9778597" y="6286606"/>
            <a:ext cx="429769" cy="429769"/>
            <a:chOff x="9273302" y="2046197"/>
            <a:chExt cx="1426282" cy="1426282"/>
          </a:xfrm>
        </p:grpSpPr>
        <p:sp>
          <p:nvSpPr>
            <p:cNvPr id="172" name="Oval 171">
              <a:extLst>
                <a:ext uri="{FF2B5EF4-FFF2-40B4-BE49-F238E27FC236}">
                  <a16:creationId xmlns:a16="http://schemas.microsoft.com/office/drawing/2014/main" id="{53E0B294-4DA9-475D-8B5B-323958B18770}"/>
                </a:ext>
              </a:extLst>
            </p:cNvPr>
            <p:cNvSpPr>
              <a:spLocks noChangeAspect="1"/>
            </p:cNvSpPr>
            <p:nvPr/>
          </p:nvSpPr>
          <p:spPr bwMode="auto">
            <a:xfrm>
              <a:off x="9273302" y="2046197"/>
              <a:ext cx="1426282" cy="1426282"/>
            </a:xfrm>
            <a:prstGeom prst="ellipse">
              <a:avLst/>
            </a:prstGeom>
            <a:noFill/>
            <a:ln w="22225"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69193" rtl="0" eaLnBrk="1" fontAlgn="base" latinLnBrk="0" hangingPunct="1">
                <a:lnSpc>
                  <a:spcPct val="100000"/>
                </a:lnSpc>
                <a:spcBef>
                  <a:spcPct val="0"/>
                </a:spcBef>
                <a:spcAft>
                  <a:spcPct val="0"/>
                </a:spcAft>
                <a:buClrTx/>
                <a:buSzTx/>
                <a:buFontTx/>
                <a:buNone/>
                <a:tabLst/>
                <a:defRPr/>
              </a:pPr>
              <a:endParaRPr kumimoji="0" lang="en-US" sz="2399" b="0" i="0" u="none" strike="noStrike" kern="0" cap="none" spc="0" normalizeH="0" baseline="0" noProof="0">
                <a:ln>
                  <a:noFill/>
                </a:ln>
                <a:effectLst/>
                <a:uLnTx/>
                <a:uFillTx/>
                <a:latin typeface="Segoe UI" panose="020B0502040204020203" pitchFamily="34" charset="0"/>
                <a:cs typeface="Segoe UI" panose="020B0502040204020203" pitchFamily="34" charset="0"/>
                <a:sym typeface="Segoe UI Semibold"/>
              </a:endParaRPr>
            </a:p>
          </p:txBody>
        </p:sp>
        <p:sp>
          <p:nvSpPr>
            <p:cNvPr id="173" name="Freeform: Shape 172">
              <a:extLst>
                <a:ext uri="{FF2B5EF4-FFF2-40B4-BE49-F238E27FC236}">
                  <a16:creationId xmlns:a16="http://schemas.microsoft.com/office/drawing/2014/main" id="{6372C9D9-1D8D-4E8A-90FD-D8A5E60C305F}"/>
                </a:ext>
              </a:extLst>
            </p:cNvPr>
            <p:cNvSpPr>
              <a:spLocks noChangeAspect="1"/>
            </p:cNvSpPr>
            <p:nvPr/>
          </p:nvSpPr>
          <p:spPr bwMode="black">
            <a:xfrm>
              <a:off x="9745867" y="2316705"/>
              <a:ext cx="527667" cy="885265"/>
            </a:xfrm>
            <a:custGeom>
              <a:avLst/>
              <a:gdLst>
                <a:gd name="connsiteX0" fmla="*/ 285484 w 1193354"/>
                <a:gd name="connsiteY0" fmla="*/ 451468 h 2002084"/>
                <a:gd name="connsiteX1" fmla="*/ 284883 w 1193354"/>
                <a:gd name="connsiteY1" fmla="*/ 491345 h 2002084"/>
                <a:gd name="connsiteX2" fmla="*/ 284785 w 1193354"/>
                <a:gd name="connsiteY2" fmla="*/ 491279 h 2002084"/>
                <a:gd name="connsiteX3" fmla="*/ 284979 w 1193354"/>
                <a:gd name="connsiteY3" fmla="*/ 475228 h 2002084"/>
                <a:gd name="connsiteX4" fmla="*/ 286242 w 1193354"/>
                <a:gd name="connsiteY4" fmla="*/ 415853 h 2002084"/>
                <a:gd name="connsiteX5" fmla="*/ 286102 w 1193354"/>
                <a:gd name="connsiteY5" fmla="*/ 422418 h 2002084"/>
                <a:gd name="connsiteX6" fmla="*/ 285843 w 1193354"/>
                <a:gd name="connsiteY6" fmla="*/ 430162 h 2002084"/>
                <a:gd name="connsiteX7" fmla="*/ 285612 w 1193354"/>
                <a:gd name="connsiteY7" fmla="*/ 445461 h 2002084"/>
                <a:gd name="connsiteX8" fmla="*/ 285484 w 1193354"/>
                <a:gd name="connsiteY8" fmla="*/ 451468 h 2002084"/>
                <a:gd name="connsiteX9" fmla="*/ 285841 w 1193354"/>
                <a:gd name="connsiteY9" fmla="*/ 427810 h 2002084"/>
                <a:gd name="connsiteX10" fmla="*/ 286701 w 1193354"/>
                <a:gd name="connsiteY10" fmla="*/ 402165 h 2002084"/>
                <a:gd name="connsiteX11" fmla="*/ 286242 w 1193354"/>
                <a:gd name="connsiteY11" fmla="*/ 415853 h 2002084"/>
                <a:gd name="connsiteX12" fmla="*/ 286436 w 1193354"/>
                <a:gd name="connsiteY12" fmla="*/ 406761 h 2002084"/>
                <a:gd name="connsiteX13" fmla="*/ 496328 w 1193354"/>
                <a:gd name="connsiteY13" fmla="*/ 360361 h 2002084"/>
                <a:gd name="connsiteX14" fmla="*/ 496354 w 1193354"/>
                <a:gd name="connsiteY14" fmla="*/ 360534 h 2002084"/>
                <a:gd name="connsiteX15" fmla="*/ 494883 w 1193354"/>
                <a:gd name="connsiteY15" fmla="*/ 463364 h 2002084"/>
                <a:gd name="connsiteX16" fmla="*/ 494300 w 1193354"/>
                <a:gd name="connsiteY16" fmla="*/ 506394 h 2002084"/>
                <a:gd name="connsiteX17" fmla="*/ 494267 w 1193354"/>
                <a:gd name="connsiteY17" fmla="*/ 506416 h 2002084"/>
                <a:gd name="connsiteX18" fmla="*/ 494882 w 1193354"/>
                <a:gd name="connsiteY18" fmla="*/ 461012 h 2002084"/>
                <a:gd name="connsiteX19" fmla="*/ 495899 w 1193354"/>
                <a:gd name="connsiteY19" fmla="*/ 397961 h 2002084"/>
                <a:gd name="connsiteX20" fmla="*/ 289252 w 1193354"/>
                <a:gd name="connsiteY20" fmla="*/ 358061 h 2002084"/>
                <a:gd name="connsiteX21" fmla="*/ 289249 w 1193354"/>
                <a:gd name="connsiteY21" fmla="*/ 358087 h 2002084"/>
                <a:gd name="connsiteX22" fmla="*/ 288429 w 1193354"/>
                <a:gd name="connsiteY22" fmla="*/ 372279 h 2002084"/>
                <a:gd name="connsiteX23" fmla="*/ 287181 w 1193354"/>
                <a:gd name="connsiteY23" fmla="*/ 390263 h 2002084"/>
                <a:gd name="connsiteX24" fmla="*/ 286893 w 1193354"/>
                <a:gd name="connsiteY24" fmla="*/ 398838 h 2002084"/>
                <a:gd name="connsiteX25" fmla="*/ 286701 w 1193354"/>
                <a:gd name="connsiteY25" fmla="*/ 402165 h 2002084"/>
                <a:gd name="connsiteX26" fmla="*/ 287179 w 1193354"/>
                <a:gd name="connsiteY26" fmla="*/ 387912 h 2002084"/>
                <a:gd name="connsiteX27" fmla="*/ 289248 w 1193354"/>
                <a:gd name="connsiteY27" fmla="*/ 358087 h 2002084"/>
                <a:gd name="connsiteX28" fmla="*/ 296920 w 1193354"/>
                <a:gd name="connsiteY28" fmla="*/ 310739 h 2002084"/>
                <a:gd name="connsiteX29" fmla="*/ 289252 w 1193354"/>
                <a:gd name="connsiteY29" fmla="*/ 358061 h 2002084"/>
                <a:gd name="connsiteX30" fmla="*/ 294307 w 1193354"/>
                <a:gd name="connsiteY30" fmla="*/ 317179 h 2002084"/>
                <a:gd name="connsiteX31" fmla="*/ 301470 w 1193354"/>
                <a:gd name="connsiteY31" fmla="*/ 299529 h 2002084"/>
                <a:gd name="connsiteX32" fmla="*/ 298558 w 1193354"/>
                <a:gd name="connsiteY32" fmla="*/ 306704 h 2002084"/>
                <a:gd name="connsiteX33" fmla="*/ 297737 w 1193354"/>
                <a:gd name="connsiteY33" fmla="*/ 308062 h 2002084"/>
                <a:gd name="connsiteX34" fmla="*/ 297558 w 1193354"/>
                <a:gd name="connsiteY34" fmla="*/ 309167 h 2002084"/>
                <a:gd name="connsiteX35" fmla="*/ 296920 w 1193354"/>
                <a:gd name="connsiteY35" fmla="*/ 310739 h 2002084"/>
                <a:gd name="connsiteX36" fmla="*/ 297735 w 1193354"/>
                <a:gd name="connsiteY36" fmla="*/ 305710 h 2002084"/>
                <a:gd name="connsiteX37" fmla="*/ 483118 w 1193354"/>
                <a:gd name="connsiteY37" fmla="*/ 298753 h 2002084"/>
                <a:gd name="connsiteX38" fmla="*/ 489189 w 1193354"/>
                <a:gd name="connsiteY38" fmla="*/ 310293 h 2002084"/>
                <a:gd name="connsiteX39" fmla="*/ 496353 w 1193354"/>
                <a:gd name="connsiteY39" fmla="*/ 358182 h 2002084"/>
                <a:gd name="connsiteX40" fmla="*/ 496328 w 1193354"/>
                <a:gd name="connsiteY40" fmla="*/ 360361 h 2002084"/>
                <a:gd name="connsiteX41" fmla="*/ 496327 w 1193354"/>
                <a:gd name="connsiteY41" fmla="*/ 360355 h 2002084"/>
                <a:gd name="connsiteX42" fmla="*/ 496352 w 1193354"/>
                <a:gd name="connsiteY42" fmla="*/ 358182 h 2002084"/>
                <a:gd name="connsiteX43" fmla="*/ 495286 w 1193354"/>
                <a:gd name="connsiteY43" fmla="*/ 353397 h 2002084"/>
                <a:gd name="connsiteX44" fmla="*/ 489190 w 1193354"/>
                <a:gd name="connsiteY44" fmla="*/ 312645 h 2002084"/>
                <a:gd name="connsiteX45" fmla="*/ 484026 w 1193354"/>
                <a:gd name="connsiteY45" fmla="*/ 302828 h 2002084"/>
                <a:gd name="connsiteX46" fmla="*/ 312270 w 1193354"/>
                <a:gd name="connsiteY46" fmla="*/ 281652 h 2002084"/>
                <a:gd name="connsiteX47" fmla="*/ 301470 w 1193354"/>
                <a:gd name="connsiteY47" fmla="*/ 299529 h 2002084"/>
                <a:gd name="connsiteX48" fmla="*/ 307000 w 1193354"/>
                <a:gd name="connsiteY48" fmla="*/ 285901 h 2002084"/>
                <a:gd name="connsiteX49" fmla="*/ 473685 w 1193354"/>
                <a:gd name="connsiteY49" fmla="*/ 280824 h 2002084"/>
                <a:gd name="connsiteX50" fmla="*/ 481372 w 1193354"/>
                <a:gd name="connsiteY50" fmla="*/ 290914 h 2002084"/>
                <a:gd name="connsiteX51" fmla="*/ 483118 w 1193354"/>
                <a:gd name="connsiteY51" fmla="*/ 298753 h 2002084"/>
                <a:gd name="connsiteX52" fmla="*/ 467383 w 1193354"/>
                <a:gd name="connsiteY52" fmla="*/ 272552 h 2002084"/>
                <a:gd name="connsiteX53" fmla="*/ 470477 w 1193354"/>
                <a:gd name="connsiteY53" fmla="*/ 274726 h 2002084"/>
                <a:gd name="connsiteX54" fmla="*/ 473685 w 1193354"/>
                <a:gd name="connsiteY54" fmla="*/ 280824 h 2002084"/>
                <a:gd name="connsiteX55" fmla="*/ 438680 w 1193354"/>
                <a:gd name="connsiteY55" fmla="*/ 252385 h 2002084"/>
                <a:gd name="connsiteX56" fmla="*/ 463812 w 1193354"/>
                <a:gd name="connsiteY56" fmla="*/ 267865 h 2002084"/>
                <a:gd name="connsiteX57" fmla="*/ 467383 w 1193354"/>
                <a:gd name="connsiteY57" fmla="*/ 272552 h 2002084"/>
                <a:gd name="connsiteX58" fmla="*/ 392214 w 1193354"/>
                <a:gd name="connsiteY58" fmla="*/ 246486 h 2002084"/>
                <a:gd name="connsiteX59" fmla="*/ 470478 w 1193354"/>
                <a:gd name="connsiteY59" fmla="*/ 277078 h 2002084"/>
                <a:gd name="connsiteX60" fmla="*/ 484026 w 1193354"/>
                <a:gd name="connsiteY60" fmla="*/ 302828 h 2002084"/>
                <a:gd name="connsiteX61" fmla="*/ 495286 w 1193354"/>
                <a:gd name="connsiteY61" fmla="*/ 353397 h 2002084"/>
                <a:gd name="connsiteX62" fmla="*/ 496327 w 1193354"/>
                <a:gd name="connsiteY62" fmla="*/ 360355 h 2002084"/>
                <a:gd name="connsiteX63" fmla="*/ 495898 w 1193354"/>
                <a:gd name="connsiteY63" fmla="*/ 397961 h 2002084"/>
                <a:gd name="connsiteX64" fmla="*/ 494881 w 1193354"/>
                <a:gd name="connsiteY64" fmla="*/ 461012 h 2002084"/>
                <a:gd name="connsiteX65" fmla="*/ 494266 w 1193354"/>
                <a:gd name="connsiteY65" fmla="*/ 506417 h 2002084"/>
                <a:gd name="connsiteX66" fmla="*/ 494267 w 1193354"/>
                <a:gd name="connsiteY66" fmla="*/ 506416 h 2002084"/>
                <a:gd name="connsiteX67" fmla="*/ 493818 w 1193354"/>
                <a:gd name="connsiteY67" fmla="*/ 539623 h 2002084"/>
                <a:gd name="connsiteX68" fmla="*/ 493224 w 1193354"/>
                <a:gd name="connsiteY68" fmla="*/ 626081 h 2002084"/>
                <a:gd name="connsiteX69" fmla="*/ 493231 w 1193354"/>
                <a:gd name="connsiteY69" fmla="*/ 627553 h 2002084"/>
                <a:gd name="connsiteX70" fmla="*/ 493225 w 1193354"/>
                <a:gd name="connsiteY70" fmla="*/ 628433 h 2002084"/>
                <a:gd name="connsiteX71" fmla="*/ 505879 w 1193354"/>
                <a:gd name="connsiteY71" fmla="*/ 898482 h 2002084"/>
                <a:gd name="connsiteX72" fmla="*/ 622620 w 1193354"/>
                <a:gd name="connsiteY72" fmla="*/ 786882 h 2002084"/>
                <a:gd name="connsiteX73" fmla="*/ 739361 w 1193354"/>
                <a:gd name="connsiteY73" fmla="*/ 898482 h 2002084"/>
                <a:gd name="connsiteX74" fmla="*/ 739361 w 1193354"/>
                <a:gd name="connsiteY74" fmla="*/ 954282 h 2002084"/>
                <a:gd name="connsiteX75" fmla="*/ 849616 w 1193354"/>
                <a:gd name="connsiteY75" fmla="*/ 842682 h 2002084"/>
                <a:gd name="connsiteX76" fmla="*/ 966358 w 1193354"/>
                <a:gd name="connsiteY76" fmla="*/ 954282 h 2002084"/>
                <a:gd name="connsiteX77" fmla="*/ 966358 w 1193354"/>
                <a:gd name="connsiteY77" fmla="*/ 1010082 h 2002084"/>
                <a:gd name="connsiteX78" fmla="*/ 1083099 w 1193354"/>
                <a:gd name="connsiteY78" fmla="*/ 898482 h 2002084"/>
                <a:gd name="connsiteX79" fmla="*/ 1193354 w 1193354"/>
                <a:gd name="connsiteY79" fmla="*/ 1010082 h 2002084"/>
                <a:gd name="connsiteX80" fmla="*/ 1193354 w 1193354"/>
                <a:gd name="connsiteY80" fmla="*/ 1245682 h 2002084"/>
                <a:gd name="connsiteX81" fmla="*/ 1193354 w 1193354"/>
                <a:gd name="connsiteY81" fmla="*/ 1431683 h 2002084"/>
                <a:gd name="connsiteX82" fmla="*/ 1193354 w 1193354"/>
                <a:gd name="connsiteY82" fmla="*/ 1493683 h 2002084"/>
                <a:gd name="connsiteX83" fmla="*/ 596677 w 1193354"/>
                <a:gd name="connsiteY83" fmla="*/ 2002084 h 2002084"/>
                <a:gd name="connsiteX84" fmla="*/ 0 w 1193354"/>
                <a:gd name="connsiteY84" fmla="*/ 1431683 h 2002084"/>
                <a:gd name="connsiteX85" fmla="*/ 0 w 1193354"/>
                <a:gd name="connsiteY85" fmla="*/ 1109282 h 2002084"/>
                <a:gd name="connsiteX86" fmla="*/ 0 w 1193354"/>
                <a:gd name="connsiteY86" fmla="*/ 997682 h 2002084"/>
                <a:gd name="connsiteX87" fmla="*/ 116742 w 1193354"/>
                <a:gd name="connsiteY87" fmla="*/ 997682 h 2002084"/>
                <a:gd name="connsiteX88" fmla="*/ 226997 w 1193354"/>
                <a:gd name="connsiteY88" fmla="*/ 1109282 h 2002084"/>
                <a:gd name="connsiteX89" fmla="*/ 226997 w 1193354"/>
                <a:gd name="connsiteY89" fmla="*/ 1375883 h 2002084"/>
                <a:gd name="connsiteX90" fmla="*/ 278882 w 1193354"/>
                <a:gd name="connsiteY90" fmla="*/ 1320083 h 2002084"/>
                <a:gd name="connsiteX91" fmla="*/ 278882 w 1193354"/>
                <a:gd name="connsiteY91" fmla="*/ 1010082 h 2002084"/>
                <a:gd name="connsiteX92" fmla="*/ 278882 w 1193354"/>
                <a:gd name="connsiteY92" fmla="*/ 738056 h 2002084"/>
                <a:gd name="connsiteX93" fmla="*/ 282697 w 1193354"/>
                <a:gd name="connsiteY93" fmla="*/ 639405 h 2002084"/>
                <a:gd name="connsiteX94" fmla="*/ 283227 w 1193354"/>
                <a:gd name="connsiteY94" fmla="*/ 604037 h 2002084"/>
                <a:gd name="connsiteX95" fmla="*/ 284019 w 1193354"/>
                <a:gd name="connsiteY95" fmla="*/ 554865 h 2002084"/>
                <a:gd name="connsiteX96" fmla="*/ 284242 w 1193354"/>
                <a:gd name="connsiteY96" fmla="*/ 536372 h 2002084"/>
                <a:gd name="connsiteX97" fmla="*/ 284338 w 1193354"/>
                <a:gd name="connsiteY97" fmla="*/ 529962 h 2002084"/>
                <a:gd name="connsiteX98" fmla="*/ 285612 w 1193354"/>
                <a:gd name="connsiteY98" fmla="*/ 445461 h 2002084"/>
                <a:gd name="connsiteX99" fmla="*/ 286102 w 1193354"/>
                <a:gd name="connsiteY99" fmla="*/ 422418 h 2002084"/>
                <a:gd name="connsiteX100" fmla="*/ 286893 w 1193354"/>
                <a:gd name="connsiteY100" fmla="*/ 398838 h 2002084"/>
                <a:gd name="connsiteX101" fmla="*/ 288429 w 1193354"/>
                <a:gd name="connsiteY101" fmla="*/ 372279 h 2002084"/>
                <a:gd name="connsiteX102" fmla="*/ 289250 w 1193354"/>
                <a:gd name="connsiteY102" fmla="*/ 360439 h 2002084"/>
                <a:gd name="connsiteX103" fmla="*/ 297558 w 1193354"/>
                <a:gd name="connsiteY103" fmla="*/ 309167 h 2002084"/>
                <a:gd name="connsiteX104" fmla="*/ 298558 w 1193354"/>
                <a:gd name="connsiteY104" fmla="*/ 306704 h 2002084"/>
                <a:gd name="connsiteX105" fmla="*/ 315044 w 1193354"/>
                <a:gd name="connsiteY105" fmla="*/ 279415 h 2002084"/>
                <a:gd name="connsiteX106" fmla="*/ 338643 w 1193354"/>
                <a:gd name="connsiteY106" fmla="*/ 260387 h 2002084"/>
                <a:gd name="connsiteX107" fmla="*/ 351480 w 1193354"/>
                <a:gd name="connsiteY107" fmla="*/ 252389 h 2002084"/>
                <a:gd name="connsiteX108" fmla="*/ 392214 w 1193354"/>
                <a:gd name="connsiteY108" fmla="*/ 246486 h 2002084"/>
                <a:gd name="connsiteX109" fmla="*/ 392212 w 1193354"/>
                <a:gd name="connsiteY109" fmla="*/ 244134 h 2002084"/>
                <a:gd name="connsiteX110" fmla="*/ 351479 w 1193354"/>
                <a:gd name="connsiteY110" fmla="*/ 250037 h 2002084"/>
                <a:gd name="connsiteX111" fmla="*/ 338643 w 1193354"/>
                <a:gd name="connsiteY111" fmla="*/ 260387 h 2002084"/>
                <a:gd name="connsiteX112" fmla="*/ 319234 w 1193354"/>
                <a:gd name="connsiteY112" fmla="*/ 272480 h 2002084"/>
                <a:gd name="connsiteX113" fmla="*/ 315044 w 1193354"/>
                <a:gd name="connsiteY113" fmla="*/ 279415 h 2002084"/>
                <a:gd name="connsiteX114" fmla="*/ 312270 w 1193354"/>
                <a:gd name="connsiteY114" fmla="*/ 281652 h 2002084"/>
                <a:gd name="connsiteX115" fmla="*/ 319232 w 1193354"/>
                <a:gd name="connsiteY115" fmla="*/ 270128 h 2002084"/>
                <a:gd name="connsiteX116" fmla="*/ 392212 w 1193354"/>
                <a:gd name="connsiteY116" fmla="*/ 244134 h 2002084"/>
                <a:gd name="connsiteX117" fmla="*/ 392212 w 1193354"/>
                <a:gd name="connsiteY117" fmla="*/ 244134 h 2002084"/>
                <a:gd name="connsiteX118" fmla="*/ 392213 w 1193354"/>
                <a:gd name="connsiteY118" fmla="*/ 244134 h 2002084"/>
                <a:gd name="connsiteX119" fmla="*/ 438667 w 1193354"/>
                <a:gd name="connsiteY119" fmla="*/ 252376 h 2002084"/>
                <a:gd name="connsiteX120" fmla="*/ 438680 w 1193354"/>
                <a:gd name="connsiteY120" fmla="*/ 252385 h 2002084"/>
                <a:gd name="connsiteX121" fmla="*/ 438666 w 1193354"/>
                <a:gd name="connsiteY121" fmla="*/ 252376 h 2002084"/>
                <a:gd name="connsiteX122" fmla="*/ 400753 w 1193354"/>
                <a:gd name="connsiteY122" fmla="*/ 0 h 2002084"/>
                <a:gd name="connsiteX123" fmla="*/ 730683 w 1193354"/>
                <a:gd name="connsiteY123" fmla="*/ 329930 h 2002084"/>
                <a:gd name="connsiteX124" fmla="*/ 529177 w 1193354"/>
                <a:gd name="connsiteY124" fmla="*/ 633933 h 2002084"/>
                <a:gd name="connsiteX125" fmla="*/ 493310 w 1193354"/>
                <a:gd name="connsiteY125" fmla="*/ 645066 h 2002084"/>
                <a:gd name="connsiteX126" fmla="*/ 493231 w 1193354"/>
                <a:gd name="connsiteY126" fmla="*/ 627553 h 2002084"/>
                <a:gd name="connsiteX127" fmla="*/ 493819 w 1193354"/>
                <a:gd name="connsiteY127" fmla="*/ 541975 h 2002084"/>
                <a:gd name="connsiteX128" fmla="*/ 494300 w 1193354"/>
                <a:gd name="connsiteY128" fmla="*/ 506394 h 2002084"/>
                <a:gd name="connsiteX129" fmla="*/ 543825 w 1193354"/>
                <a:gd name="connsiteY129" fmla="*/ 473003 h 2002084"/>
                <a:gd name="connsiteX130" fmla="*/ 603088 w 1193354"/>
                <a:gd name="connsiteY130" fmla="*/ 329930 h 2002084"/>
                <a:gd name="connsiteX131" fmla="*/ 400752 w 1193354"/>
                <a:gd name="connsiteY131" fmla="*/ 127594 h 2002084"/>
                <a:gd name="connsiteX132" fmla="*/ 198416 w 1193354"/>
                <a:gd name="connsiteY132" fmla="*/ 329930 h 2002084"/>
                <a:gd name="connsiteX133" fmla="*/ 257679 w 1193354"/>
                <a:gd name="connsiteY133" fmla="*/ 473003 h 2002084"/>
                <a:gd name="connsiteX134" fmla="*/ 284785 w 1193354"/>
                <a:gd name="connsiteY134" fmla="*/ 491279 h 2002084"/>
                <a:gd name="connsiteX135" fmla="*/ 284242 w 1193354"/>
                <a:gd name="connsiteY135" fmla="*/ 536372 h 2002084"/>
                <a:gd name="connsiteX136" fmla="*/ 283227 w 1193354"/>
                <a:gd name="connsiteY136" fmla="*/ 604037 h 2002084"/>
                <a:gd name="connsiteX137" fmla="*/ 282696 w 1193354"/>
                <a:gd name="connsiteY137" fmla="*/ 637053 h 2002084"/>
                <a:gd name="connsiteX138" fmla="*/ 282693 w 1193354"/>
                <a:gd name="connsiteY138" fmla="*/ 637150 h 2002084"/>
                <a:gd name="connsiteX139" fmla="*/ 272330 w 1193354"/>
                <a:gd name="connsiteY139" fmla="*/ 633933 h 2002084"/>
                <a:gd name="connsiteX140" fmla="*/ 70823 w 1193354"/>
                <a:gd name="connsiteY140" fmla="*/ 329930 h 2002084"/>
                <a:gd name="connsiteX141" fmla="*/ 400753 w 1193354"/>
                <a:gd name="connsiteY141" fmla="*/ 0 h 2002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193354" h="2002084">
                  <a:moveTo>
                    <a:pt x="285484" y="451468"/>
                  </a:moveTo>
                  <a:lnTo>
                    <a:pt x="284883" y="491345"/>
                  </a:lnTo>
                  <a:lnTo>
                    <a:pt x="284785" y="491279"/>
                  </a:lnTo>
                  <a:lnTo>
                    <a:pt x="284979" y="475228"/>
                  </a:lnTo>
                  <a:close/>
                  <a:moveTo>
                    <a:pt x="286242" y="415853"/>
                  </a:moveTo>
                  <a:lnTo>
                    <a:pt x="286102" y="422418"/>
                  </a:lnTo>
                  <a:lnTo>
                    <a:pt x="285843" y="430162"/>
                  </a:lnTo>
                  <a:lnTo>
                    <a:pt x="285612" y="445461"/>
                  </a:lnTo>
                  <a:lnTo>
                    <a:pt x="285484" y="451468"/>
                  </a:lnTo>
                  <a:lnTo>
                    <a:pt x="285841" y="427810"/>
                  </a:lnTo>
                  <a:close/>
                  <a:moveTo>
                    <a:pt x="286701" y="402165"/>
                  </a:moveTo>
                  <a:lnTo>
                    <a:pt x="286242" y="415853"/>
                  </a:lnTo>
                  <a:lnTo>
                    <a:pt x="286436" y="406761"/>
                  </a:lnTo>
                  <a:close/>
                  <a:moveTo>
                    <a:pt x="496328" y="360361"/>
                  </a:moveTo>
                  <a:lnTo>
                    <a:pt x="496354" y="360534"/>
                  </a:lnTo>
                  <a:cubicBezTo>
                    <a:pt x="496354" y="377582"/>
                    <a:pt x="495634" y="415286"/>
                    <a:pt x="494883" y="463364"/>
                  </a:cubicBezTo>
                  <a:lnTo>
                    <a:pt x="494300" y="506394"/>
                  </a:lnTo>
                  <a:lnTo>
                    <a:pt x="494267" y="506416"/>
                  </a:lnTo>
                  <a:lnTo>
                    <a:pt x="494882" y="461012"/>
                  </a:lnTo>
                  <a:cubicBezTo>
                    <a:pt x="495258" y="436974"/>
                    <a:pt x="495625" y="415528"/>
                    <a:pt x="495899" y="397961"/>
                  </a:cubicBezTo>
                  <a:close/>
                  <a:moveTo>
                    <a:pt x="289252" y="358061"/>
                  </a:moveTo>
                  <a:lnTo>
                    <a:pt x="289249" y="358087"/>
                  </a:lnTo>
                  <a:lnTo>
                    <a:pt x="288429" y="372279"/>
                  </a:lnTo>
                  <a:lnTo>
                    <a:pt x="287181" y="390263"/>
                  </a:lnTo>
                  <a:lnTo>
                    <a:pt x="286893" y="398838"/>
                  </a:lnTo>
                  <a:lnTo>
                    <a:pt x="286701" y="402165"/>
                  </a:lnTo>
                  <a:lnTo>
                    <a:pt x="287179" y="387912"/>
                  </a:lnTo>
                  <a:cubicBezTo>
                    <a:pt x="287733" y="376149"/>
                    <a:pt x="288409" y="366066"/>
                    <a:pt x="289248" y="358087"/>
                  </a:cubicBezTo>
                  <a:close/>
                  <a:moveTo>
                    <a:pt x="296920" y="310739"/>
                  </a:moveTo>
                  <a:lnTo>
                    <a:pt x="289252" y="358061"/>
                  </a:lnTo>
                  <a:lnTo>
                    <a:pt x="294307" y="317179"/>
                  </a:lnTo>
                  <a:close/>
                  <a:moveTo>
                    <a:pt x="301470" y="299529"/>
                  </a:moveTo>
                  <a:lnTo>
                    <a:pt x="298558" y="306704"/>
                  </a:lnTo>
                  <a:lnTo>
                    <a:pt x="297737" y="308062"/>
                  </a:lnTo>
                  <a:lnTo>
                    <a:pt x="297558" y="309167"/>
                  </a:lnTo>
                  <a:lnTo>
                    <a:pt x="296920" y="310739"/>
                  </a:lnTo>
                  <a:lnTo>
                    <a:pt x="297735" y="305710"/>
                  </a:lnTo>
                  <a:close/>
                  <a:moveTo>
                    <a:pt x="483118" y="298753"/>
                  </a:moveTo>
                  <a:lnTo>
                    <a:pt x="489189" y="310293"/>
                  </a:lnTo>
                  <a:cubicBezTo>
                    <a:pt x="493416" y="324252"/>
                    <a:pt x="495718" y="340264"/>
                    <a:pt x="496353" y="358182"/>
                  </a:cubicBezTo>
                  <a:lnTo>
                    <a:pt x="496328" y="360361"/>
                  </a:lnTo>
                  <a:lnTo>
                    <a:pt x="496327" y="360355"/>
                  </a:lnTo>
                  <a:lnTo>
                    <a:pt x="496352" y="358182"/>
                  </a:lnTo>
                  <a:lnTo>
                    <a:pt x="495286" y="353397"/>
                  </a:lnTo>
                  <a:lnTo>
                    <a:pt x="489190" y="312645"/>
                  </a:lnTo>
                  <a:lnTo>
                    <a:pt x="484026" y="302828"/>
                  </a:lnTo>
                  <a:close/>
                  <a:moveTo>
                    <a:pt x="312270" y="281652"/>
                  </a:moveTo>
                  <a:lnTo>
                    <a:pt x="301470" y="299529"/>
                  </a:lnTo>
                  <a:lnTo>
                    <a:pt x="307000" y="285901"/>
                  </a:lnTo>
                  <a:close/>
                  <a:moveTo>
                    <a:pt x="473685" y="280824"/>
                  </a:moveTo>
                  <a:lnTo>
                    <a:pt x="481372" y="290914"/>
                  </a:lnTo>
                  <a:lnTo>
                    <a:pt x="483118" y="298753"/>
                  </a:lnTo>
                  <a:close/>
                  <a:moveTo>
                    <a:pt x="467383" y="272552"/>
                  </a:moveTo>
                  <a:lnTo>
                    <a:pt x="470477" y="274726"/>
                  </a:lnTo>
                  <a:lnTo>
                    <a:pt x="473685" y="280824"/>
                  </a:lnTo>
                  <a:close/>
                  <a:moveTo>
                    <a:pt x="438680" y="252385"/>
                  </a:moveTo>
                  <a:lnTo>
                    <a:pt x="463812" y="267865"/>
                  </a:lnTo>
                  <a:lnTo>
                    <a:pt x="467383" y="272552"/>
                  </a:lnTo>
                  <a:close/>
                  <a:moveTo>
                    <a:pt x="392214" y="246486"/>
                  </a:moveTo>
                  <a:cubicBezTo>
                    <a:pt x="428409" y="247079"/>
                    <a:pt x="453809" y="257674"/>
                    <a:pt x="470478" y="277078"/>
                  </a:cubicBezTo>
                  <a:lnTo>
                    <a:pt x="484026" y="302828"/>
                  </a:lnTo>
                  <a:lnTo>
                    <a:pt x="495286" y="353397"/>
                  </a:lnTo>
                  <a:lnTo>
                    <a:pt x="496327" y="360355"/>
                  </a:lnTo>
                  <a:lnTo>
                    <a:pt x="495898" y="397961"/>
                  </a:lnTo>
                  <a:cubicBezTo>
                    <a:pt x="495624" y="415528"/>
                    <a:pt x="495257" y="436973"/>
                    <a:pt x="494881" y="461012"/>
                  </a:cubicBezTo>
                  <a:lnTo>
                    <a:pt x="494266" y="506417"/>
                  </a:lnTo>
                  <a:lnTo>
                    <a:pt x="494267" y="506416"/>
                  </a:lnTo>
                  <a:lnTo>
                    <a:pt x="493818" y="539623"/>
                  </a:lnTo>
                  <a:cubicBezTo>
                    <a:pt x="493513" y="567563"/>
                    <a:pt x="493286" y="596811"/>
                    <a:pt x="493224" y="626081"/>
                  </a:cubicBezTo>
                  <a:lnTo>
                    <a:pt x="493231" y="627553"/>
                  </a:lnTo>
                  <a:lnTo>
                    <a:pt x="493225" y="628433"/>
                  </a:lnTo>
                  <a:cubicBezTo>
                    <a:pt x="492975" y="745514"/>
                    <a:pt x="495357" y="862953"/>
                    <a:pt x="505879" y="898482"/>
                  </a:cubicBezTo>
                  <a:cubicBezTo>
                    <a:pt x="526923" y="969540"/>
                    <a:pt x="557764" y="786882"/>
                    <a:pt x="622620" y="786882"/>
                  </a:cubicBezTo>
                  <a:cubicBezTo>
                    <a:pt x="687476" y="786882"/>
                    <a:pt x="739361" y="836482"/>
                    <a:pt x="739361" y="898482"/>
                  </a:cubicBezTo>
                  <a:lnTo>
                    <a:pt x="739361" y="954282"/>
                  </a:lnTo>
                  <a:cubicBezTo>
                    <a:pt x="739361" y="892282"/>
                    <a:pt x="791246" y="842682"/>
                    <a:pt x="849616" y="842682"/>
                  </a:cubicBezTo>
                  <a:cubicBezTo>
                    <a:pt x="914473" y="842682"/>
                    <a:pt x="966358" y="892282"/>
                    <a:pt x="966358" y="954282"/>
                  </a:cubicBezTo>
                  <a:lnTo>
                    <a:pt x="966358" y="1010082"/>
                  </a:lnTo>
                  <a:cubicBezTo>
                    <a:pt x="966358" y="948082"/>
                    <a:pt x="1018243" y="898482"/>
                    <a:pt x="1083099" y="898482"/>
                  </a:cubicBezTo>
                  <a:cubicBezTo>
                    <a:pt x="1147955" y="898482"/>
                    <a:pt x="1193354" y="948082"/>
                    <a:pt x="1193354" y="1010082"/>
                  </a:cubicBezTo>
                  <a:lnTo>
                    <a:pt x="1193354" y="1245682"/>
                  </a:lnTo>
                  <a:lnTo>
                    <a:pt x="1193354" y="1431683"/>
                  </a:lnTo>
                  <a:lnTo>
                    <a:pt x="1193354" y="1493683"/>
                  </a:lnTo>
                  <a:cubicBezTo>
                    <a:pt x="1160926" y="1778884"/>
                    <a:pt x="907987" y="2002084"/>
                    <a:pt x="596677" y="2002084"/>
                  </a:cubicBezTo>
                  <a:cubicBezTo>
                    <a:pt x="265911" y="2002084"/>
                    <a:pt x="0" y="1747884"/>
                    <a:pt x="0" y="1431683"/>
                  </a:cubicBezTo>
                  <a:lnTo>
                    <a:pt x="0" y="1109282"/>
                  </a:lnTo>
                  <a:lnTo>
                    <a:pt x="0" y="997682"/>
                  </a:lnTo>
                  <a:lnTo>
                    <a:pt x="116742" y="997682"/>
                  </a:lnTo>
                  <a:cubicBezTo>
                    <a:pt x="181598" y="997682"/>
                    <a:pt x="226997" y="1047282"/>
                    <a:pt x="226997" y="1109282"/>
                  </a:cubicBezTo>
                  <a:lnTo>
                    <a:pt x="226997" y="1375883"/>
                  </a:lnTo>
                  <a:cubicBezTo>
                    <a:pt x="265911" y="1375883"/>
                    <a:pt x="278882" y="1344883"/>
                    <a:pt x="278882" y="1320083"/>
                  </a:cubicBezTo>
                  <a:lnTo>
                    <a:pt x="278882" y="1010082"/>
                  </a:lnTo>
                  <a:lnTo>
                    <a:pt x="278882" y="738056"/>
                  </a:lnTo>
                  <a:cubicBezTo>
                    <a:pt x="280743" y="709242"/>
                    <a:pt x="281901" y="675222"/>
                    <a:pt x="282697" y="639405"/>
                  </a:cubicBezTo>
                  <a:lnTo>
                    <a:pt x="283227" y="604037"/>
                  </a:lnTo>
                  <a:lnTo>
                    <a:pt x="284019" y="554865"/>
                  </a:lnTo>
                  <a:lnTo>
                    <a:pt x="284242" y="536372"/>
                  </a:lnTo>
                  <a:lnTo>
                    <a:pt x="284338" y="529962"/>
                  </a:lnTo>
                  <a:lnTo>
                    <a:pt x="285612" y="445461"/>
                  </a:lnTo>
                  <a:lnTo>
                    <a:pt x="286102" y="422418"/>
                  </a:lnTo>
                  <a:lnTo>
                    <a:pt x="286893" y="398838"/>
                  </a:lnTo>
                  <a:lnTo>
                    <a:pt x="288429" y="372279"/>
                  </a:lnTo>
                  <a:lnTo>
                    <a:pt x="289250" y="360439"/>
                  </a:lnTo>
                  <a:lnTo>
                    <a:pt x="297558" y="309167"/>
                  </a:lnTo>
                  <a:lnTo>
                    <a:pt x="298558" y="306704"/>
                  </a:lnTo>
                  <a:lnTo>
                    <a:pt x="315044" y="279415"/>
                  </a:lnTo>
                  <a:lnTo>
                    <a:pt x="338643" y="260387"/>
                  </a:lnTo>
                  <a:lnTo>
                    <a:pt x="351480" y="252389"/>
                  </a:lnTo>
                  <a:cubicBezTo>
                    <a:pt x="363769" y="248129"/>
                    <a:pt x="377473" y="246233"/>
                    <a:pt x="392214" y="246486"/>
                  </a:cubicBezTo>
                  <a:close/>
                  <a:moveTo>
                    <a:pt x="392212" y="244134"/>
                  </a:moveTo>
                  <a:lnTo>
                    <a:pt x="351479" y="250037"/>
                  </a:lnTo>
                  <a:lnTo>
                    <a:pt x="338643" y="260387"/>
                  </a:lnTo>
                  <a:lnTo>
                    <a:pt x="319234" y="272480"/>
                  </a:lnTo>
                  <a:lnTo>
                    <a:pt x="315044" y="279415"/>
                  </a:lnTo>
                  <a:lnTo>
                    <a:pt x="312270" y="281652"/>
                  </a:lnTo>
                  <a:lnTo>
                    <a:pt x="319232" y="270128"/>
                  </a:lnTo>
                  <a:cubicBezTo>
                    <a:pt x="337398" y="251715"/>
                    <a:pt x="362730" y="243629"/>
                    <a:pt x="392212" y="244134"/>
                  </a:cubicBezTo>
                  <a:close/>
                  <a:moveTo>
                    <a:pt x="392212" y="244134"/>
                  </a:moveTo>
                  <a:lnTo>
                    <a:pt x="392213" y="244134"/>
                  </a:lnTo>
                  <a:cubicBezTo>
                    <a:pt x="410311" y="244430"/>
                    <a:pt x="425709" y="247227"/>
                    <a:pt x="438667" y="252376"/>
                  </a:cubicBezTo>
                  <a:lnTo>
                    <a:pt x="438680" y="252385"/>
                  </a:lnTo>
                  <a:lnTo>
                    <a:pt x="438666" y="252376"/>
                  </a:lnTo>
                  <a:close/>
                  <a:moveTo>
                    <a:pt x="400753" y="0"/>
                  </a:moveTo>
                  <a:cubicBezTo>
                    <a:pt x="582968" y="0"/>
                    <a:pt x="730683" y="147715"/>
                    <a:pt x="730683" y="329930"/>
                  </a:cubicBezTo>
                  <a:cubicBezTo>
                    <a:pt x="730683" y="466592"/>
                    <a:pt x="647593" y="583847"/>
                    <a:pt x="529177" y="633933"/>
                  </a:cubicBezTo>
                  <a:lnTo>
                    <a:pt x="493310" y="645066"/>
                  </a:lnTo>
                  <a:lnTo>
                    <a:pt x="493231" y="627553"/>
                  </a:lnTo>
                  <a:lnTo>
                    <a:pt x="493819" y="541975"/>
                  </a:lnTo>
                  <a:lnTo>
                    <a:pt x="494300" y="506394"/>
                  </a:lnTo>
                  <a:lnTo>
                    <a:pt x="543825" y="473003"/>
                  </a:lnTo>
                  <a:cubicBezTo>
                    <a:pt x="580441" y="436388"/>
                    <a:pt x="603088" y="385804"/>
                    <a:pt x="603088" y="329930"/>
                  </a:cubicBezTo>
                  <a:cubicBezTo>
                    <a:pt x="603088" y="218183"/>
                    <a:pt x="512499" y="127594"/>
                    <a:pt x="400752" y="127594"/>
                  </a:cubicBezTo>
                  <a:cubicBezTo>
                    <a:pt x="289005" y="127594"/>
                    <a:pt x="198416" y="218183"/>
                    <a:pt x="198416" y="329930"/>
                  </a:cubicBezTo>
                  <a:cubicBezTo>
                    <a:pt x="198416" y="385804"/>
                    <a:pt x="221064" y="436388"/>
                    <a:pt x="257679" y="473003"/>
                  </a:cubicBezTo>
                  <a:lnTo>
                    <a:pt x="284785" y="491279"/>
                  </a:lnTo>
                  <a:lnTo>
                    <a:pt x="284242" y="536372"/>
                  </a:lnTo>
                  <a:lnTo>
                    <a:pt x="283227" y="604037"/>
                  </a:lnTo>
                  <a:lnTo>
                    <a:pt x="282696" y="637053"/>
                  </a:lnTo>
                  <a:lnTo>
                    <a:pt x="282693" y="637150"/>
                  </a:lnTo>
                  <a:lnTo>
                    <a:pt x="272330" y="633933"/>
                  </a:lnTo>
                  <a:cubicBezTo>
                    <a:pt x="153913" y="583847"/>
                    <a:pt x="70823" y="466592"/>
                    <a:pt x="70823" y="329930"/>
                  </a:cubicBezTo>
                  <a:cubicBezTo>
                    <a:pt x="70823" y="147715"/>
                    <a:pt x="218538" y="0"/>
                    <a:pt x="400753" y="0"/>
                  </a:cubicBezTo>
                  <a:close/>
                </a:path>
              </a:pathLst>
            </a:custGeom>
            <a:noFill/>
            <a:ln w="12700">
              <a:solidFill>
                <a:schemeClr val="tx1"/>
              </a:solidFill>
            </a:ln>
          </p:spPr>
          <p:txBody>
            <a:bodyPr vert="horz" wrap="square" lIns="93211" tIns="46605" rIns="93211" bIns="46605" numCol="1" anchor="t" anchorCtr="0" compatLnSpc="1">
              <a:prstTxWarp prst="textNoShape">
                <a:avLst/>
              </a:prstTxWarp>
              <a:noAutofit/>
            </a:bodyPr>
            <a:lstStyle/>
            <a:p>
              <a:pPr marL="0" marR="0" lvl="0" indent="0" algn="l" defTabSz="932227" rtl="0" eaLnBrk="1" fontAlgn="auto" latinLnBrk="0" hangingPunct="1">
                <a:lnSpc>
                  <a:spcPct val="100000"/>
                </a:lnSpc>
                <a:spcBef>
                  <a:spcPts val="0"/>
                </a:spcBef>
                <a:spcAft>
                  <a:spcPts val="0"/>
                </a:spcAft>
                <a:buClrTx/>
                <a:buSzTx/>
                <a:buFontTx/>
                <a:buNone/>
                <a:tabLst/>
                <a:defRPr/>
              </a:pPr>
              <a:endParaRPr kumimoji="0" lang="en-US" sz="3999" b="0" i="0" u="none" strike="noStrike" kern="1200" cap="none" spc="0" normalizeH="0" baseline="0" noProof="0">
                <a:ln>
                  <a:noFill/>
                </a:ln>
                <a:effectLst/>
                <a:uLnTx/>
                <a:uFillTx/>
                <a:latin typeface="Segoe UI" panose="020B0502040204020203" pitchFamily="34" charset="0"/>
                <a:cs typeface="Segoe UI" panose="020B0502040204020203" pitchFamily="34" charset="0"/>
                <a:sym typeface="Segoe UI Semibold"/>
              </a:endParaRPr>
            </a:p>
          </p:txBody>
        </p:sp>
      </p:grpSp>
      <p:sp>
        <p:nvSpPr>
          <p:cNvPr id="174" name="Rectangle: Rounded Corners 173">
            <a:extLst>
              <a:ext uri="{FF2B5EF4-FFF2-40B4-BE49-F238E27FC236}">
                <a16:creationId xmlns:a16="http://schemas.microsoft.com/office/drawing/2014/main" id="{CFAD6029-BB8E-436B-B317-492B06B75812}"/>
              </a:ext>
            </a:extLst>
          </p:cNvPr>
          <p:cNvSpPr/>
          <p:nvPr/>
        </p:nvSpPr>
        <p:spPr>
          <a:xfrm>
            <a:off x="2043653" y="2842939"/>
            <a:ext cx="1047894" cy="778522"/>
          </a:xfrm>
          <a:prstGeom prst="roundRect">
            <a:avLst/>
          </a:prstGeom>
          <a:solidFill>
            <a:srgbClr val="7030A0"/>
          </a:solidFill>
          <a:ln w="12700" cap="flat" cmpd="sng" algn="ctr">
            <a:no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Semibold"/>
              </a:rPr>
              <a:t>Field Gateways</a:t>
            </a:r>
          </a:p>
        </p:txBody>
      </p:sp>
      <p:sp>
        <p:nvSpPr>
          <p:cNvPr id="175" name="Rectangle: Rounded Corners 174">
            <a:extLst>
              <a:ext uri="{FF2B5EF4-FFF2-40B4-BE49-F238E27FC236}">
                <a16:creationId xmlns:a16="http://schemas.microsoft.com/office/drawing/2014/main" id="{A162CEA1-1ABE-4CAD-9EEE-392592CB1B93}"/>
              </a:ext>
            </a:extLst>
          </p:cNvPr>
          <p:cNvSpPr/>
          <p:nvPr/>
        </p:nvSpPr>
        <p:spPr>
          <a:xfrm>
            <a:off x="851334" y="2842939"/>
            <a:ext cx="912731" cy="353518"/>
          </a:xfrm>
          <a:prstGeom prst="roundRect">
            <a:avLst/>
          </a:prstGeom>
          <a:solidFill>
            <a:srgbClr val="7030A0"/>
          </a:solidFill>
          <a:ln w="12700" cap="flat" cmpd="sng" algn="ctr">
            <a:no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Semibold"/>
              </a:rPr>
              <a:t>Constrained Devices</a:t>
            </a:r>
          </a:p>
        </p:txBody>
      </p:sp>
      <p:sp>
        <p:nvSpPr>
          <p:cNvPr id="176" name="Rectangle: Rounded Corners 175">
            <a:extLst>
              <a:ext uri="{FF2B5EF4-FFF2-40B4-BE49-F238E27FC236}">
                <a16:creationId xmlns:a16="http://schemas.microsoft.com/office/drawing/2014/main" id="{14998521-474F-4EA3-A226-B2BA75C8BDE9}"/>
              </a:ext>
            </a:extLst>
          </p:cNvPr>
          <p:cNvSpPr/>
          <p:nvPr/>
        </p:nvSpPr>
        <p:spPr>
          <a:xfrm>
            <a:off x="851334" y="3267944"/>
            <a:ext cx="920252" cy="353518"/>
          </a:xfrm>
          <a:prstGeom prst="roundRect">
            <a:avLst/>
          </a:prstGeom>
          <a:solidFill>
            <a:srgbClr val="7030A0"/>
          </a:solidFill>
          <a:ln w="12700" cap="flat" cmpd="sng" algn="ctr">
            <a:no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Semibold"/>
              </a:rPr>
              <a:t>Constrained Devices</a:t>
            </a:r>
          </a:p>
        </p:txBody>
      </p:sp>
      <p:cxnSp>
        <p:nvCxnSpPr>
          <p:cNvPr id="177" name="Straight Arrow Connector 176">
            <a:extLst>
              <a:ext uri="{FF2B5EF4-FFF2-40B4-BE49-F238E27FC236}">
                <a16:creationId xmlns:a16="http://schemas.microsoft.com/office/drawing/2014/main" id="{EC87BA0E-C393-4820-B581-23C570E99BC7}"/>
              </a:ext>
            </a:extLst>
          </p:cNvPr>
          <p:cNvCxnSpPr>
            <a:cxnSpLocks/>
          </p:cNvCxnSpPr>
          <p:nvPr/>
        </p:nvCxnSpPr>
        <p:spPr>
          <a:xfrm>
            <a:off x="3091547" y="3267945"/>
            <a:ext cx="386556" cy="233575"/>
          </a:xfrm>
          <a:prstGeom prst="straightConnector1">
            <a:avLst/>
          </a:prstGeom>
          <a:noFill/>
          <a:ln w="19050" cap="flat" cmpd="sng" algn="ctr">
            <a:solidFill>
              <a:schemeClr val="accent3">
                <a:lumMod val="60000"/>
                <a:lumOff val="40000"/>
              </a:schemeClr>
            </a:solidFill>
            <a:prstDash val="solid"/>
            <a:miter lim="800000"/>
            <a:headEnd type="triangle"/>
            <a:tailEnd type="triangle"/>
          </a:ln>
          <a:effectLst/>
        </p:spPr>
      </p:cxnSp>
      <p:cxnSp>
        <p:nvCxnSpPr>
          <p:cNvPr id="178" name="Straight Arrow Connector 177">
            <a:extLst>
              <a:ext uri="{FF2B5EF4-FFF2-40B4-BE49-F238E27FC236}">
                <a16:creationId xmlns:a16="http://schemas.microsoft.com/office/drawing/2014/main" id="{779F9217-311E-48FC-92DD-62337BDEEA8E}"/>
              </a:ext>
            </a:extLst>
          </p:cNvPr>
          <p:cNvCxnSpPr>
            <a:cxnSpLocks/>
          </p:cNvCxnSpPr>
          <p:nvPr/>
        </p:nvCxnSpPr>
        <p:spPr>
          <a:xfrm>
            <a:off x="1777897" y="3034131"/>
            <a:ext cx="255874" cy="7705"/>
          </a:xfrm>
          <a:prstGeom prst="straightConnector1">
            <a:avLst/>
          </a:prstGeom>
          <a:noFill/>
          <a:ln w="19050" cap="flat" cmpd="sng" algn="ctr">
            <a:solidFill>
              <a:schemeClr val="accent3">
                <a:lumMod val="60000"/>
                <a:lumOff val="40000"/>
              </a:schemeClr>
            </a:solidFill>
            <a:prstDash val="solid"/>
            <a:miter lim="800000"/>
            <a:headEnd type="triangle"/>
            <a:tailEnd type="triangle"/>
          </a:ln>
          <a:effectLst/>
        </p:spPr>
      </p:cxnSp>
      <p:sp>
        <p:nvSpPr>
          <p:cNvPr id="179" name="Rectangle: Rounded Corners 178">
            <a:extLst>
              <a:ext uri="{FF2B5EF4-FFF2-40B4-BE49-F238E27FC236}">
                <a16:creationId xmlns:a16="http://schemas.microsoft.com/office/drawing/2014/main" id="{1DF2C455-7DD1-4E1C-B69E-AEB55DDB92FF}"/>
              </a:ext>
            </a:extLst>
          </p:cNvPr>
          <p:cNvSpPr/>
          <p:nvPr/>
        </p:nvSpPr>
        <p:spPr>
          <a:xfrm>
            <a:off x="2032083" y="3923063"/>
            <a:ext cx="1059465" cy="778522"/>
          </a:xfrm>
          <a:prstGeom prst="roundRect">
            <a:avLst/>
          </a:prstGeom>
          <a:solidFill>
            <a:srgbClr val="C55A11"/>
          </a:solidFill>
          <a:ln w="12700" cap="flat" cmpd="sng" algn="ctr">
            <a:no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Semibold"/>
              </a:rPr>
              <a:t>Intelligent</a:t>
            </a: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Semibold"/>
              </a:rPr>
              <a:t>Edge</a:t>
            </a:r>
          </a:p>
        </p:txBody>
      </p:sp>
      <p:sp>
        <p:nvSpPr>
          <p:cNvPr id="180" name="Oval 179">
            <a:extLst>
              <a:ext uri="{FF2B5EF4-FFF2-40B4-BE49-F238E27FC236}">
                <a16:creationId xmlns:a16="http://schemas.microsoft.com/office/drawing/2014/main" id="{F5251FA6-DBF6-4E32-AE86-EC39AB73B28E}"/>
              </a:ext>
            </a:extLst>
          </p:cNvPr>
          <p:cNvSpPr/>
          <p:nvPr/>
        </p:nvSpPr>
        <p:spPr bwMode="auto">
          <a:xfrm>
            <a:off x="1341114" y="1701779"/>
            <a:ext cx="912731" cy="911322"/>
          </a:xfrm>
          <a:prstGeom prst="ellipse">
            <a:avLst/>
          </a:prstGeom>
          <a:solidFill>
            <a:srgbClr val="00B050"/>
          </a:solidFill>
          <a:ln w="12700" cap="flat" cmpd="sng" algn="ctr">
            <a:solidFill>
              <a:sysClr val="window" lastClr="FFFFFF"/>
            </a:solidFill>
            <a:prstDash val="solid"/>
            <a:miter lim="800000"/>
            <a:headEnd type="none" w="med" len="med"/>
            <a:tailEnd type="none" w="med" len="med"/>
          </a:ln>
          <a:effectLst/>
        </p:spPr>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panose="020B0502040204020203" pitchFamily="34" charset="0"/>
                <a:cs typeface="Segoe UI" panose="020B0502040204020203" pitchFamily="34" charset="0"/>
                <a:sym typeface="Segoe UI Semibold"/>
              </a:rPr>
              <a:t>IoT Devices</a:t>
            </a:r>
          </a:p>
        </p:txBody>
      </p:sp>
      <p:sp>
        <p:nvSpPr>
          <p:cNvPr id="181" name="Rectangle 180">
            <a:extLst>
              <a:ext uri="{FF2B5EF4-FFF2-40B4-BE49-F238E27FC236}">
                <a16:creationId xmlns:a16="http://schemas.microsoft.com/office/drawing/2014/main" id="{EDF6DFB8-0465-4EF1-BED5-98BF5AB1F272}"/>
              </a:ext>
            </a:extLst>
          </p:cNvPr>
          <p:cNvSpPr/>
          <p:nvPr/>
        </p:nvSpPr>
        <p:spPr>
          <a:xfrm>
            <a:off x="2358600" y="1880661"/>
            <a:ext cx="919556" cy="409460"/>
          </a:xfrm>
          <a:prstGeom prst="rect">
            <a:avLst/>
          </a:prstGeom>
          <a:noFill/>
          <a:ln w="12700" cap="flat" cmpd="sng" algn="ctr">
            <a:no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Semibold"/>
              </a:rPr>
              <a:t>Custom</a:t>
            </a: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sym typeface="Segoe UI Semibold"/>
              </a:rPr>
              <a:t> Protocols</a:t>
            </a:r>
          </a:p>
        </p:txBody>
      </p:sp>
      <p:sp>
        <p:nvSpPr>
          <p:cNvPr id="182" name="Rectangle: Rounded Corners 181">
            <a:extLst>
              <a:ext uri="{FF2B5EF4-FFF2-40B4-BE49-F238E27FC236}">
                <a16:creationId xmlns:a16="http://schemas.microsoft.com/office/drawing/2014/main" id="{D3E6D136-2189-4506-B09C-7DD299FEA796}"/>
              </a:ext>
            </a:extLst>
          </p:cNvPr>
          <p:cNvSpPr/>
          <p:nvPr/>
        </p:nvSpPr>
        <p:spPr>
          <a:xfrm>
            <a:off x="3322846" y="1815363"/>
            <a:ext cx="1047894" cy="625768"/>
          </a:xfrm>
          <a:prstGeom prst="roundRect">
            <a:avLst/>
          </a:prstGeom>
          <a:solidFill>
            <a:srgbClr val="00B050"/>
          </a:solidFill>
          <a:ln w="12700" cap="flat" cmpd="sng" algn="ctr">
            <a:no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Semibold"/>
              </a:rPr>
              <a:t>Custom</a:t>
            </a: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Segoe UI Semibold"/>
              </a:rPr>
              <a:t>Cloud Gateways</a:t>
            </a:r>
          </a:p>
        </p:txBody>
      </p:sp>
      <p:cxnSp>
        <p:nvCxnSpPr>
          <p:cNvPr id="183" name="Straight Arrow Connector 182">
            <a:extLst>
              <a:ext uri="{FF2B5EF4-FFF2-40B4-BE49-F238E27FC236}">
                <a16:creationId xmlns:a16="http://schemas.microsoft.com/office/drawing/2014/main" id="{3DE76813-95AB-4DF4-A57D-37DEC215A923}"/>
              </a:ext>
            </a:extLst>
          </p:cNvPr>
          <p:cNvCxnSpPr>
            <a:cxnSpLocks/>
          </p:cNvCxnSpPr>
          <p:nvPr/>
        </p:nvCxnSpPr>
        <p:spPr>
          <a:xfrm flipV="1">
            <a:off x="2278664" y="2085392"/>
            <a:ext cx="999493" cy="7195"/>
          </a:xfrm>
          <a:prstGeom prst="straightConnector1">
            <a:avLst/>
          </a:prstGeom>
          <a:noFill/>
          <a:ln w="19050" cap="flat" cmpd="sng" algn="ctr">
            <a:solidFill>
              <a:schemeClr val="accent3">
                <a:lumMod val="60000"/>
                <a:lumOff val="40000"/>
              </a:schemeClr>
            </a:solidFill>
            <a:prstDash val="solid"/>
            <a:miter lim="800000"/>
            <a:headEnd type="triangle"/>
            <a:tailEnd type="triangle"/>
          </a:ln>
          <a:effectLst/>
        </p:spPr>
      </p:cxnSp>
      <p:cxnSp>
        <p:nvCxnSpPr>
          <p:cNvPr id="184" name="Straight Arrow Connector 183">
            <a:extLst>
              <a:ext uri="{FF2B5EF4-FFF2-40B4-BE49-F238E27FC236}">
                <a16:creationId xmlns:a16="http://schemas.microsoft.com/office/drawing/2014/main" id="{BEFBE9DD-4556-4C2E-81D4-35C65858B8C5}"/>
              </a:ext>
            </a:extLst>
          </p:cNvPr>
          <p:cNvCxnSpPr>
            <a:cxnSpLocks/>
          </p:cNvCxnSpPr>
          <p:nvPr/>
        </p:nvCxnSpPr>
        <p:spPr>
          <a:xfrm>
            <a:off x="3864802" y="2568176"/>
            <a:ext cx="0" cy="804997"/>
          </a:xfrm>
          <a:prstGeom prst="straightConnector1">
            <a:avLst/>
          </a:prstGeom>
          <a:noFill/>
          <a:ln w="19050" cap="flat" cmpd="sng" algn="ctr">
            <a:solidFill>
              <a:schemeClr val="accent3">
                <a:lumMod val="60000"/>
                <a:lumOff val="40000"/>
              </a:schemeClr>
            </a:solidFill>
            <a:prstDash val="solid"/>
            <a:miter lim="800000"/>
            <a:headEnd type="triangle"/>
            <a:tailEnd type="triangle"/>
          </a:ln>
          <a:effectLst/>
        </p:spPr>
      </p:cxnSp>
      <p:cxnSp>
        <p:nvCxnSpPr>
          <p:cNvPr id="185" name="Straight Arrow Connector 184">
            <a:extLst>
              <a:ext uri="{FF2B5EF4-FFF2-40B4-BE49-F238E27FC236}">
                <a16:creationId xmlns:a16="http://schemas.microsoft.com/office/drawing/2014/main" id="{5600C90A-76A7-4508-8768-81B6F5EE9254}"/>
              </a:ext>
            </a:extLst>
          </p:cNvPr>
          <p:cNvCxnSpPr>
            <a:cxnSpLocks/>
          </p:cNvCxnSpPr>
          <p:nvPr/>
        </p:nvCxnSpPr>
        <p:spPr>
          <a:xfrm>
            <a:off x="1777897" y="3452768"/>
            <a:ext cx="255874" cy="7705"/>
          </a:xfrm>
          <a:prstGeom prst="straightConnector1">
            <a:avLst/>
          </a:prstGeom>
          <a:noFill/>
          <a:ln w="19050" cap="flat" cmpd="sng" algn="ctr">
            <a:solidFill>
              <a:schemeClr val="accent3">
                <a:lumMod val="60000"/>
                <a:lumOff val="40000"/>
              </a:schemeClr>
            </a:solidFill>
            <a:prstDash val="solid"/>
            <a:miter lim="800000"/>
            <a:headEnd type="triangle"/>
            <a:tailEnd type="triangle"/>
          </a:ln>
          <a:effectLst/>
        </p:spPr>
      </p:cxnSp>
      <p:cxnSp>
        <p:nvCxnSpPr>
          <p:cNvPr id="186" name="Straight Arrow Connector 185">
            <a:extLst>
              <a:ext uri="{FF2B5EF4-FFF2-40B4-BE49-F238E27FC236}">
                <a16:creationId xmlns:a16="http://schemas.microsoft.com/office/drawing/2014/main" id="{C8A65B6A-CD3A-44B4-81B5-ED6A718403B2}"/>
              </a:ext>
            </a:extLst>
          </p:cNvPr>
          <p:cNvCxnSpPr>
            <a:cxnSpLocks/>
          </p:cNvCxnSpPr>
          <p:nvPr/>
        </p:nvCxnSpPr>
        <p:spPr>
          <a:xfrm flipV="1">
            <a:off x="3099168" y="4263249"/>
            <a:ext cx="211735" cy="69838"/>
          </a:xfrm>
          <a:prstGeom prst="straightConnector1">
            <a:avLst/>
          </a:prstGeom>
          <a:noFill/>
          <a:ln w="19050" cap="flat" cmpd="sng" algn="ctr">
            <a:solidFill>
              <a:schemeClr val="accent3">
                <a:lumMod val="60000"/>
                <a:lumOff val="40000"/>
              </a:schemeClr>
            </a:solidFill>
            <a:prstDash val="solid"/>
            <a:miter lim="800000"/>
            <a:headEnd type="triangle"/>
            <a:tailEnd type="triangle"/>
          </a:ln>
          <a:effectLst/>
        </p:spPr>
      </p:cxnSp>
      <p:sp>
        <p:nvSpPr>
          <p:cNvPr id="187" name="Rectangle: Rounded Corners 186">
            <a:extLst>
              <a:ext uri="{FF2B5EF4-FFF2-40B4-BE49-F238E27FC236}">
                <a16:creationId xmlns:a16="http://schemas.microsoft.com/office/drawing/2014/main" id="{14AC6151-51E9-4930-A3D1-BDF68A392F26}"/>
              </a:ext>
            </a:extLst>
          </p:cNvPr>
          <p:cNvSpPr/>
          <p:nvPr/>
        </p:nvSpPr>
        <p:spPr>
          <a:xfrm>
            <a:off x="858856" y="3923062"/>
            <a:ext cx="912731" cy="353518"/>
          </a:xfrm>
          <a:prstGeom prst="roundRect">
            <a:avLst/>
          </a:prstGeom>
          <a:solidFill>
            <a:srgbClr val="C55A11"/>
          </a:solidFill>
          <a:ln w="12700" cap="flat" cmpd="sng" algn="ctr">
            <a:no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Semibold"/>
              </a:rPr>
              <a:t>Edge Devices</a:t>
            </a:r>
          </a:p>
        </p:txBody>
      </p:sp>
      <p:sp>
        <p:nvSpPr>
          <p:cNvPr id="188" name="Rectangle: Rounded Corners 187">
            <a:extLst>
              <a:ext uri="{FF2B5EF4-FFF2-40B4-BE49-F238E27FC236}">
                <a16:creationId xmlns:a16="http://schemas.microsoft.com/office/drawing/2014/main" id="{3D0B110B-CA35-4FBB-8EFD-EB65144B58D7}"/>
              </a:ext>
            </a:extLst>
          </p:cNvPr>
          <p:cNvSpPr/>
          <p:nvPr/>
        </p:nvSpPr>
        <p:spPr>
          <a:xfrm>
            <a:off x="858856" y="4348067"/>
            <a:ext cx="920252" cy="353518"/>
          </a:xfrm>
          <a:prstGeom prst="roundRect">
            <a:avLst/>
          </a:prstGeom>
          <a:solidFill>
            <a:srgbClr val="C55A11"/>
          </a:solidFill>
          <a:ln w="12700" cap="flat" cmpd="sng" algn="ctr">
            <a:no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sym typeface="Segoe UI Semibold"/>
              </a:rPr>
              <a:t>Edge Devices</a:t>
            </a:r>
          </a:p>
        </p:txBody>
      </p:sp>
      <p:cxnSp>
        <p:nvCxnSpPr>
          <p:cNvPr id="189" name="Straight Arrow Connector 188">
            <a:extLst>
              <a:ext uri="{FF2B5EF4-FFF2-40B4-BE49-F238E27FC236}">
                <a16:creationId xmlns:a16="http://schemas.microsoft.com/office/drawing/2014/main" id="{998B98AA-9E52-42C4-A78A-AB6DE9301547}"/>
              </a:ext>
            </a:extLst>
          </p:cNvPr>
          <p:cNvCxnSpPr>
            <a:cxnSpLocks/>
          </p:cNvCxnSpPr>
          <p:nvPr/>
        </p:nvCxnSpPr>
        <p:spPr>
          <a:xfrm>
            <a:off x="1764064" y="4115316"/>
            <a:ext cx="255874" cy="7705"/>
          </a:xfrm>
          <a:prstGeom prst="straightConnector1">
            <a:avLst/>
          </a:prstGeom>
          <a:noFill/>
          <a:ln w="19050" cap="flat" cmpd="sng" algn="ctr">
            <a:solidFill>
              <a:schemeClr val="accent3">
                <a:lumMod val="60000"/>
                <a:lumOff val="40000"/>
              </a:schemeClr>
            </a:solidFill>
            <a:prstDash val="solid"/>
            <a:miter lim="800000"/>
            <a:headEnd type="triangle"/>
            <a:tailEnd type="triangle"/>
          </a:ln>
          <a:effectLst/>
        </p:spPr>
      </p:cxnSp>
      <p:cxnSp>
        <p:nvCxnSpPr>
          <p:cNvPr id="190" name="Straight Arrow Connector 189">
            <a:extLst>
              <a:ext uri="{FF2B5EF4-FFF2-40B4-BE49-F238E27FC236}">
                <a16:creationId xmlns:a16="http://schemas.microsoft.com/office/drawing/2014/main" id="{4105D59F-443F-4871-9E51-8C192A495138}"/>
              </a:ext>
            </a:extLst>
          </p:cNvPr>
          <p:cNvCxnSpPr>
            <a:cxnSpLocks/>
          </p:cNvCxnSpPr>
          <p:nvPr/>
        </p:nvCxnSpPr>
        <p:spPr>
          <a:xfrm>
            <a:off x="1764064" y="4514903"/>
            <a:ext cx="255874" cy="7705"/>
          </a:xfrm>
          <a:prstGeom prst="straightConnector1">
            <a:avLst/>
          </a:prstGeom>
          <a:noFill/>
          <a:ln w="19050" cap="flat" cmpd="sng" algn="ctr">
            <a:solidFill>
              <a:schemeClr val="accent3">
                <a:lumMod val="60000"/>
                <a:lumOff val="40000"/>
              </a:schemeClr>
            </a:solidFill>
            <a:prstDash val="solid"/>
            <a:miter lim="800000"/>
            <a:headEnd type="triangle"/>
            <a:tailEnd type="triangle"/>
          </a:ln>
          <a:effectLst/>
        </p:spPr>
      </p:cxnSp>
      <p:grpSp>
        <p:nvGrpSpPr>
          <p:cNvPr id="48" name="Group 47">
            <a:extLst>
              <a:ext uri="{FF2B5EF4-FFF2-40B4-BE49-F238E27FC236}">
                <a16:creationId xmlns:a16="http://schemas.microsoft.com/office/drawing/2014/main" id="{54976302-9393-4E95-9588-336F1F3EF87F}"/>
              </a:ext>
            </a:extLst>
          </p:cNvPr>
          <p:cNvGrpSpPr/>
          <p:nvPr/>
        </p:nvGrpSpPr>
        <p:grpSpPr>
          <a:xfrm>
            <a:off x="2048376" y="6295602"/>
            <a:ext cx="450060" cy="575298"/>
            <a:chOff x="3041653" y="4644257"/>
            <a:chExt cx="1318030" cy="1684798"/>
          </a:xfrm>
        </p:grpSpPr>
        <p:sp>
          <p:nvSpPr>
            <p:cNvPr id="49" name="Oval 48">
              <a:extLst>
                <a:ext uri="{FF2B5EF4-FFF2-40B4-BE49-F238E27FC236}">
                  <a16:creationId xmlns:a16="http://schemas.microsoft.com/office/drawing/2014/main" id="{3EB3031F-BE29-4559-BBCA-F743449C485C}"/>
                </a:ext>
              </a:extLst>
            </p:cNvPr>
            <p:cNvSpPr/>
            <p:nvPr/>
          </p:nvSpPr>
          <p:spPr bwMode="auto">
            <a:xfrm>
              <a:off x="3070081" y="4644257"/>
              <a:ext cx="1261176" cy="1261176"/>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en-US" sz="1799" b="0" i="0" u="none" strike="noStrike" kern="1200" cap="none" spc="0" normalizeH="0" baseline="0" noProof="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sym typeface="Segoe UI Semibold"/>
              </a:endParaRPr>
            </a:p>
          </p:txBody>
        </p:sp>
        <p:grpSp>
          <p:nvGrpSpPr>
            <p:cNvPr id="50" name="Group 49">
              <a:extLst>
                <a:ext uri="{FF2B5EF4-FFF2-40B4-BE49-F238E27FC236}">
                  <a16:creationId xmlns:a16="http://schemas.microsoft.com/office/drawing/2014/main" id="{0A6CD212-49A9-42EE-B662-54A0576FFBE4}"/>
                </a:ext>
              </a:extLst>
            </p:cNvPr>
            <p:cNvGrpSpPr/>
            <p:nvPr/>
          </p:nvGrpSpPr>
          <p:grpSpPr>
            <a:xfrm rot="-2700000">
              <a:off x="3041653" y="5011025"/>
              <a:ext cx="1318030" cy="1318030"/>
              <a:chOff x="2059298" y="4518808"/>
              <a:chExt cx="914400" cy="914400"/>
            </a:xfrm>
          </p:grpSpPr>
          <p:sp>
            <p:nvSpPr>
              <p:cNvPr id="52" name="Arc 51">
                <a:extLst>
                  <a:ext uri="{FF2B5EF4-FFF2-40B4-BE49-F238E27FC236}">
                    <a16:creationId xmlns:a16="http://schemas.microsoft.com/office/drawing/2014/main" id="{34B27B67-8AC6-4E17-83B0-739D1F0C6BCB}"/>
                  </a:ext>
                </a:extLst>
              </p:cNvPr>
              <p:cNvSpPr/>
              <p:nvPr/>
            </p:nvSpPr>
            <p:spPr>
              <a:xfrm>
                <a:off x="2059298" y="4518808"/>
                <a:ext cx="914400" cy="914400"/>
              </a:xfrm>
              <a:prstGeom prst="arc">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effectLst/>
                  <a:uLnTx/>
                  <a:uFillTx/>
                  <a:latin typeface="Segoe UI" panose="020B0502040204020203" pitchFamily="34" charset="0"/>
                  <a:cs typeface="Segoe UI" panose="020B0502040204020203" pitchFamily="34" charset="0"/>
                  <a:sym typeface="Segoe UI Semibold"/>
                </a:endParaRPr>
              </a:p>
            </p:txBody>
          </p:sp>
          <p:sp>
            <p:nvSpPr>
              <p:cNvPr id="53" name="Arc 52">
                <a:extLst>
                  <a:ext uri="{FF2B5EF4-FFF2-40B4-BE49-F238E27FC236}">
                    <a16:creationId xmlns:a16="http://schemas.microsoft.com/office/drawing/2014/main" id="{E77DF2BB-F73B-4979-901E-85998440080D}"/>
                  </a:ext>
                </a:extLst>
              </p:cNvPr>
              <p:cNvSpPr/>
              <p:nvPr/>
            </p:nvSpPr>
            <p:spPr>
              <a:xfrm>
                <a:off x="2289175" y="4744664"/>
                <a:ext cx="457200" cy="457200"/>
              </a:xfrm>
              <a:prstGeom prst="arc">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effectLst/>
                  <a:uLnTx/>
                  <a:uFillTx/>
                  <a:latin typeface="Segoe UI" panose="020B0502040204020203" pitchFamily="34" charset="0"/>
                  <a:cs typeface="Segoe UI" panose="020B0502040204020203" pitchFamily="34" charset="0"/>
                  <a:sym typeface="Segoe UI Semibold"/>
                </a:endParaRPr>
              </a:p>
            </p:txBody>
          </p:sp>
          <p:sp>
            <p:nvSpPr>
              <p:cNvPr id="55" name="Arc 54">
                <a:extLst>
                  <a:ext uri="{FF2B5EF4-FFF2-40B4-BE49-F238E27FC236}">
                    <a16:creationId xmlns:a16="http://schemas.microsoft.com/office/drawing/2014/main" id="{F43D5C87-CC58-4ABF-8C8D-8BEB80CBBF15}"/>
                  </a:ext>
                </a:extLst>
              </p:cNvPr>
              <p:cNvSpPr/>
              <p:nvPr/>
            </p:nvSpPr>
            <p:spPr>
              <a:xfrm>
                <a:off x="2173598" y="4630364"/>
                <a:ext cx="685800" cy="685800"/>
              </a:xfrm>
              <a:prstGeom prst="arc">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effectLst/>
                  <a:uLnTx/>
                  <a:uFillTx/>
                  <a:latin typeface="Segoe UI" panose="020B0502040204020203" pitchFamily="34" charset="0"/>
                  <a:cs typeface="Segoe UI" panose="020B0502040204020203" pitchFamily="34" charset="0"/>
                  <a:sym typeface="Segoe UI Semibold"/>
                </a:endParaRPr>
              </a:p>
            </p:txBody>
          </p:sp>
          <p:sp>
            <p:nvSpPr>
              <p:cNvPr id="56" name="Oval 55">
                <a:extLst>
                  <a:ext uri="{FF2B5EF4-FFF2-40B4-BE49-F238E27FC236}">
                    <a16:creationId xmlns:a16="http://schemas.microsoft.com/office/drawing/2014/main" id="{CBBCE90B-5E18-4B7C-891A-22DEAE698C67}"/>
                  </a:ext>
                </a:extLst>
              </p:cNvPr>
              <p:cNvSpPr/>
              <p:nvPr/>
            </p:nvSpPr>
            <p:spPr bwMode="auto">
              <a:xfrm>
                <a:off x="2516498" y="4860758"/>
                <a:ext cx="111450" cy="111450"/>
              </a:xfrm>
              <a:prstGeom prst="ellipse">
                <a:avLst/>
              </a:prstGeom>
              <a:noFill/>
              <a:ln w="127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5" rIns="0" bIns="46625" numCol="1" rtlCol="0" anchor="ctr"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Segoe UI" panose="020B0502040204020203" pitchFamily="34" charset="0"/>
                  <a:cs typeface="Segoe UI" panose="020B0502040204020203" pitchFamily="34" charset="0"/>
                  <a:sym typeface="Segoe UI Semibold"/>
                </a:endParaRPr>
              </a:p>
            </p:txBody>
          </p:sp>
        </p:grpSp>
      </p:grpSp>
      <p:grpSp>
        <p:nvGrpSpPr>
          <p:cNvPr id="72" name="Group 71">
            <a:extLst>
              <a:ext uri="{FF2B5EF4-FFF2-40B4-BE49-F238E27FC236}">
                <a16:creationId xmlns:a16="http://schemas.microsoft.com/office/drawing/2014/main" id="{25AE6069-ED00-48AC-9186-24BE898CA388}"/>
              </a:ext>
            </a:extLst>
          </p:cNvPr>
          <p:cNvGrpSpPr/>
          <p:nvPr/>
        </p:nvGrpSpPr>
        <p:grpSpPr>
          <a:xfrm>
            <a:off x="-1" y="822420"/>
            <a:ext cx="12105100" cy="807872"/>
            <a:chOff x="76016" y="1047480"/>
            <a:chExt cx="12105100" cy="807872"/>
          </a:xfrm>
        </p:grpSpPr>
        <p:sp>
          <p:nvSpPr>
            <p:cNvPr id="73" name="Arrow: Pentagon 72">
              <a:extLst>
                <a:ext uri="{FF2B5EF4-FFF2-40B4-BE49-F238E27FC236}">
                  <a16:creationId xmlns:a16="http://schemas.microsoft.com/office/drawing/2014/main" id="{2865CE50-2A38-441D-8504-C410B5FF10E0}"/>
                </a:ext>
              </a:extLst>
            </p:cNvPr>
            <p:cNvSpPr/>
            <p:nvPr/>
          </p:nvSpPr>
          <p:spPr bwMode="auto">
            <a:xfrm>
              <a:off x="8100147" y="1047480"/>
              <a:ext cx="4080969" cy="783368"/>
            </a:xfrm>
            <a:prstGeom prst="homePlate">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Segoe UI Semibold"/>
              </a:endParaRPr>
            </a:p>
          </p:txBody>
        </p:sp>
        <p:sp>
          <p:nvSpPr>
            <p:cNvPr id="74" name="Arrow: Pentagon 73">
              <a:extLst>
                <a:ext uri="{FF2B5EF4-FFF2-40B4-BE49-F238E27FC236}">
                  <a16:creationId xmlns:a16="http://schemas.microsoft.com/office/drawing/2014/main" id="{D6FC6615-19CA-4FF1-BA5F-D8CFD1370D48}"/>
                </a:ext>
              </a:extLst>
            </p:cNvPr>
            <p:cNvSpPr/>
            <p:nvPr/>
          </p:nvSpPr>
          <p:spPr bwMode="auto">
            <a:xfrm>
              <a:off x="3426501" y="1048827"/>
              <a:ext cx="5397770" cy="784006"/>
            </a:xfrm>
            <a:prstGeom prst="homePlate">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Segoe UI Semibold"/>
              </a:endParaRPr>
            </a:p>
          </p:txBody>
        </p:sp>
        <p:sp>
          <p:nvSpPr>
            <p:cNvPr id="75" name="Arrow: Pentagon 74">
              <a:extLst>
                <a:ext uri="{FF2B5EF4-FFF2-40B4-BE49-F238E27FC236}">
                  <a16:creationId xmlns:a16="http://schemas.microsoft.com/office/drawing/2014/main" id="{F93504EA-424B-4BBE-99AF-5235454E213F}"/>
                </a:ext>
              </a:extLst>
            </p:cNvPr>
            <p:cNvSpPr/>
            <p:nvPr/>
          </p:nvSpPr>
          <p:spPr bwMode="auto">
            <a:xfrm>
              <a:off x="76016" y="1048623"/>
              <a:ext cx="4238626" cy="806729"/>
            </a:xfrm>
            <a:prstGeom prst="homePlat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Segoe UI Semibold"/>
              </a:endParaRPr>
            </a:p>
          </p:txBody>
        </p:sp>
        <p:grpSp>
          <p:nvGrpSpPr>
            <p:cNvPr id="76" name="Group 75">
              <a:extLst>
                <a:ext uri="{FF2B5EF4-FFF2-40B4-BE49-F238E27FC236}">
                  <a16:creationId xmlns:a16="http://schemas.microsoft.com/office/drawing/2014/main" id="{E10FB461-7A72-478C-8A67-37B986594CA8}"/>
                </a:ext>
              </a:extLst>
            </p:cNvPr>
            <p:cNvGrpSpPr/>
            <p:nvPr/>
          </p:nvGrpSpPr>
          <p:grpSpPr>
            <a:xfrm>
              <a:off x="8673895" y="1100729"/>
              <a:ext cx="3320220" cy="636925"/>
              <a:chOff x="7922517" y="4588193"/>
              <a:chExt cx="2892514" cy="636925"/>
            </a:xfrm>
          </p:grpSpPr>
          <p:sp>
            <p:nvSpPr>
              <p:cNvPr id="83" name="TextBox 82">
                <a:extLst>
                  <a:ext uri="{FF2B5EF4-FFF2-40B4-BE49-F238E27FC236}">
                    <a16:creationId xmlns:a16="http://schemas.microsoft.com/office/drawing/2014/main" id="{3715C2B9-7EAB-4825-9EE6-C52508891F91}"/>
                  </a:ext>
                </a:extLst>
              </p:cNvPr>
              <p:cNvSpPr txBox="1"/>
              <p:nvPr/>
            </p:nvSpPr>
            <p:spPr>
              <a:xfrm>
                <a:off x="8053522" y="4837704"/>
                <a:ext cx="2576970" cy="387414"/>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sym typeface="Segoe UI Semibold"/>
                  </a:rPr>
                  <a:t>Optimize operations, increase profitability, &amp; create more compelling business models</a:t>
                </a:r>
              </a:p>
            </p:txBody>
          </p:sp>
          <p:sp>
            <p:nvSpPr>
              <p:cNvPr id="84" name="TextBox 83">
                <a:extLst>
                  <a:ext uri="{FF2B5EF4-FFF2-40B4-BE49-F238E27FC236}">
                    <a16:creationId xmlns:a16="http://schemas.microsoft.com/office/drawing/2014/main" id="{D5F73CF9-57CA-4E7A-BED5-88D7342528BD}"/>
                  </a:ext>
                </a:extLst>
              </p:cNvPr>
              <p:cNvSpPr txBox="1"/>
              <p:nvPr/>
            </p:nvSpPr>
            <p:spPr>
              <a:xfrm>
                <a:off x="7922517" y="4588193"/>
                <a:ext cx="2892514" cy="207942"/>
              </a:xfrm>
              <a:prstGeom prst="rect">
                <a:avLst/>
              </a:prstGeom>
              <a:noFill/>
            </p:spPr>
            <p:txBody>
              <a:bodyPr wrap="square" lIns="0" tIns="0" rIns="0" bIns="0" rtlCol="0">
                <a:spAutoFit/>
              </a:bodyPr>
              <a:lstStyle/>
              <a:p>
                <a:pPr marL="0" marR="0" lvl="0" indent="0" algn="ctr" defTabSz="914400" rtl="0" eaLnBrk="1" fontAlgn="auto" latinLnBrk="0" hangingPunct="1">
                  <a:lnSpc>
                    <a:spcPts val="18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sym typeface="Segoe UI Semibold"/>
                  </a:rPr>
                  <a:t>ACTION</a:t>
                </a:r>
              </a:p>
            </p:txBody>
          </p:sp>
        </p:grpSp>
        <p:grpSp>
          <p:nvGrpSpPr>
            <p:cNvPr id="77" name="Group 76">
              <a:extLst>
                <a:ext uri="{FF2B5EF4-FFF2-40B4-BE49-F238E27FC236}">
                  <a16:creationId xmlns:a16="http://schemas.microsoft.com/office/drawing/2014/main" id="{C33705B7-DF92-41FF-A330-F111A0FFADFA}"/>
                </a:ext>
              </a:extLst>
            </p:cNvPr>
            <p:cNvGrpSpPr/>
            <p:nvPr/>
          </p:nvGrpSpPr>
          <p:grpSpPr>
            <a:xfrm>
              <a:off x="4649873" y="1081971"/>
              <a:ext cx="4027136" cy="395307"/>
              <a:chOff x="2577680" y="4574804"/>
              <a:chExt cx="2770188" cy="339211"/>
            </a:xfrm>
          </p:grpSpPr>
          <p:sp>
            <p:nvSpPr>
              <p:cNvPr id="81" name="TextBox 80">
                <a:extLst>
                  <a:ext uri="{FF2B5EF4-FFF2-40B4-BE49-F238E27FC236}">
                    <a16:creationId xmlns:a16="http://schemas.microsoft.com/office/drawing/2014/main" id="{6D4C57D8-31CE-4B69-92E5-D0F94D8C1C49}"/>
                  </a:ext>
                </a:extLst>
              </p:cNvPr>
              <p:cNvSpPr txBox="1"/>
              <p:nvPr/>
            </p:nvSpPr>
            <p:spPr>
              <a:xfrm>
                <a:off x="2577680" y="4755884"/>
                <a:ext cx="2770188" cy="158131"/>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sym typeface="Segoe UI Semibold"/>
                  </a:rPr>
                  <a:t>Identify patterns in data, automate rules &amp; alerts </a:t>
                </a:r>
              </a:p>
            </p:txBody>
          </p:sp>
          <p:sp>
            <p:nvSpPr>
              <p:cNvPr id="82" name="TextBox 81">
                <a:extLst>
                  <a:ext uri="{FF2B5EF4-FFF2-40B4-BE49-F238E27FC236}">
                    <a16:creationId xmlns:a16="http://schemas.microsoft.com/office/drawing/2014/main" id="{918E581E-332F-41A0-B456-F0E5D2528C8D}"/>
                  </a:ext>
                </a:extLst>
              </p:cNvPr>
              <p:cNvSpPr txBox="1"/>
              <p:nvPr/>
            </p:nvSpPr>
            <p:spPr>
              <a:xfrm>
                <a:off x="3398995" y="4574804"/>
                <a:ext cx="612857" cy="178434"/>
              </a:xfrm>
              <a:prstGeom prst="rect">
                <a:avLst/>
              </a:prstGeom>
              <a:noFill/>
            </p:spPr>
            <p:txBody>
              <a:bodyPr wrap="square" lIns="0" tIns="0" rIns="0" bIns="0" rtlCol="0">
                <a:spAutoFit/>
              </a:bodyPr>
              <a:lstStyle/>
              <a:p>
                <a:pPr marL="0" marR="0" lvl="0" indent="0" algn="ctr" defTabSz="914400" rtl="0" eaLnBrk="1" fontAlgn="auto" latinLnBrk="0" hangingPunct="1">
                  <a:lnSpc>
                    <a:spcPts val="18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sym typeface="Segoe UI Semibold"/>
                  </a:rPr>
                  <a:t>INSIGHTS</a:t>
                </a:r>
              </a:p>
            </p:txBody>
          </p:sp>
        </p:grpSp>
        <p:grpSp>
          <p:nvGrpSpPr>
            <p:cNvPr id="78" name="Group 77">
              <a:extLst>
                <a:ext uri="{FF2B5EF4-FFF2-40B4-BE49-F238E27FC236}">
                  <a16:creationId xmlns:a16="http://schemas.microsoft.com/office/drawing/2014/main" id="{F836CF8E-2933-44C6-A364-C00C8DF56894}"/>
                </a:ext>
              </a:extLst>
            </p:cNvPr>
            <p:cNvGrpSpPr/>
            <p:nvPr/>
          </p:nvGrpSpPr>
          <p:grpSpPr>
            <a:xfrm>
              <a:off x="181188" y="1102030"/>
              <a:ext cx="3540081" cy="646116"/>
              <a:chOff x="2333581" y="4589739"/>
              <a:chExt cx="2589205" cy="657187"/>
            </a:xfrm>
          </p:grpSpPr>
          <p:sp>
            <p:nvSpPr>
              <p:cNvPr id="79" name="TextBox 78">
                <a:extLst>
                  <a:ext uri="{FF2B5EF4-FFF2-40B4-BE49-F238E27FC236}">
                    <a16:creationId xmlns:a16="http://schemas.microsoft.com/office/drawing/2014/main" id="{8C74BD7F-0BDB-4FF9-AF14-745B24CF4E2C}"/>
                  </a:ext>
                </a:extLst>
              </p:cNvPr>
              <p:cNvSpPr txBox="1"/>
              <p:nvPr/>
            </p:nvSpPr>
            <p:spPr>
              <a:xfrm>
                <a:off x="2748028" y="4852874"/>
                <a:ext cx="1764975" cy="394052"/>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sym typeface="Segoe UI Semibold"/>
                  </a:rPr>
                  <a:t>Gain real time insights and improve business processes</a:t>
                </a:r>
              </a:p>
            </p:txBody>
          </p:sp>
          <p:sp>
            <p:nvSpPr>
              <p:cNvPr id="80" name="TextBox 79">
                <a:extLst>
                  <a:ext uri="{FF2B5EF4-FFF2-40B4-BE49-F238E27FC236}">
                    <a16:creationId xmlns:a16="http://schemas.microsoft.com/office/drawing/2014/main" id="{F450AFE0-F6CD-4BDE-ACCE-55A67F3F5464}"/>
                  </a:ext>
                </a:extLst>
              </p:cNvPr>
              <p:cNvSpPr txBox="1"/>
              <p:nvPr/>
            </p:nvSpPr>
            <p:spPr>
              <a:xfrm>
                <a:off x="2333581" y="4589739"/>
                <a:ext cx="2589205" cy="211505"/>
              </a:xfrm>
              <a:prstGeom prst="rect">
                <a:avLst/>
              </a:prstGeom>
              <a:noFill/>
            </p:spPr>
            <p:txBody>
              <a:bodyPr wrap="square" lIns="0" tIns="0" rIns="0" bIns="0" rtlCol="0">
                <a:spAutoFit/>
              </a:bodyPr>
              <a:lstStyle/>
              <a:p>
                <a:pPr marL="0" marR="0" lvl="0" indent="0" algn="ctr" defTabSz="914400" rtl="0" eaLnBrk="1" fontAlgn="auto" latinLnBrk="0" hangingPunct="1">
                  <a:lnSpc>
                    <a:spcPts val="18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sym typeface="Segoe UI Semibold"/>
                  </a:rPr>
                  <a:t>THINGS</a:t>
                </a:r>
              </a:p>
            </p:txBody>
          </p:sp>
        </p:grpSp>
      </p:grpSp>
    </p:spTree>
    <p:extLst>
      <p:ext uri="{BB962C8B-B14F-4D97-AF65-F5344CB8AC3E}">
        <p14:creationId xmlns:p14="http://schemas.microsoft.com/office/powerpoint/2010/main" val="542093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7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8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8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8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8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8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8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8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9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3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4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42"/>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43"/>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44"/>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45"/>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46"/>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53"/>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55"/>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57"/>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58"/>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62"/>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63"/>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6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66"/>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14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47"/>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148"/>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154"/>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56"/>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16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167"/>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1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 grpId="0" animBg="1"/>
      <p:bldP spid="139" grpId="0" animBg="1"/>
      <p:bldP spid="140" grpId="0" animBg="1"/>
      <p:bldP spid="141" grpId="0" animBg="1"/>
      <p:bldP spid="142" grpId="0" animBg="1"/>
      <p:bldP spid="153" grpId="0"/>
      <p:bldP spid="154" grpId="0"/>
      <p:bldP spid="155" grpId="0"/>
      <p:bldP spid="156" grpId="0"/>
      <p:bldP spid="158" grpId="0"/>
      <p:bldP spid="160" grpId="0" animBg="1"/>
      <p:bldP spid="161" grpId="0"/>
      <p:bldP spid="162" grpId="0" animBg="1"/>
      <p:bldP spid="163" grpId="0" animBg="1"/>
      <p:bldP spid="164" grpId="0" animBg="1"/>
      <p:bldP spid="165" grpId="0" animBg="1"/>
      <p:bldP spid="174" grpId="0" animBg="1"/>
      <p:bldP spid="175" grpId="0" animBg="1"/>
      <p:bldP spid="176" grpId="0" animBg="1"/>
      <p:bldP spid="179" grpId="0" animBg="1"/>
      <p:bldP spid="180" grpId="0" animBg="1"/>
      <p:bldP spid="181" grpId="0"/>
      <p:bldP spid="182" grpId="0" animBg="1"/>
      <p:bldP spid="187" grpId="0" animBg="1"/>
      <p:bldP spid="18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D001690-357E-41D6-936F-61C6DF3159DA}"/>
              </a:ext>
            </a:extLst>
          </p:cNvPr>
          <p:cNvSpPr>
            <a:spLocks noGrp="1"/>
          </p:cNvSpPr>
          <p:nvPr>
            <p:ph type="title"/>
          </p:nvPr>
        </p:nvSpPr>
        <p:spPr>
          <a:xfrm>
            <a:off x="588263" y="457200"/>
            <a:ext cx="11018520" cy="492443"/>
          </a:xfrm>
        </p:spPr>
        <p:txBody>
          <a:bodyPr/>
          <a:lstStyle/>
          <a:p>
            <a:pPr algn="ctr"/>
            <a:r>
              <a:rPr lang="en-US" sz="3200"/>
              <a:t>Microsoft’s comprehensive IoT product portfolio</a:t>
            </a:r>
          </a:p>
        </p:txBody>
      </p:sp>
      <p:sp>
        <p:nvSpPr>
          <p:cNvPr id="92" name="Rectangle 91">
            <a:extLst>
              <a:ext uri="{FF2B5EF4-FFF2-40B4-BE49-F238E27FC236}">
                <a16:creationId xmlns:a16="http://schemas.microsoft.com/office/drawing/2014/main" id="{90F0B97A-9D52-487F-92BD-4FD4D509C5FF}"/>
              </a:ext>
              <a:ext uri="{C183D7F6-B498-43B3-948B-1728B52AA6E4}">
                <adec:decorative xmlns:adec="http://schemas.microsoft.com/office/drawing/2017/decorative" val="1"/>
              </a:ext>
            </a:extLst>
          </p:cNvPr>
          <p:cNvSpPr/>
          <p:nvPr/>
        </p:nvSpPr>
        <p:spPr bwMode="auto">
          <a:xfrm>
            <a:off x="348473" y="1534937"/>
            <a:ext cx="1653436" cy="5056782"/>
          </a:xfrm>
          <a:prstGeom prst="rect">
            <a:avLst/>
          </a:prstGeom>
          <a:gradFill flip="none" rotWithShape="1">
            <a:gsLst>
              <a:gs pos="2000">
                <a:srgbClr val="50E6FF">
                  <a:alpha val="31000"/>
                </a:srgbClr>
              </a:gs>
              <a:gs pos="73000">
                <a:srgbClr val="000000">
                  <a:alpha val="0"/>
                </a:srgbClr>
              </a:gs>
            </a:gsLst>
            <a:lin ang="108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6" name="Rectangle 95">
            <a:extLst>
              <a:ext uri="{FF2B5EF4-FFF2-40B4-BE49-F238E27FC236}">
                <a16:creationId xmlns:a16="http://schemas.microsoft.com/office/drawing/2014/main" id="{27077EE2-DB1E-4B8A-A35F-6E9335B2C22B}"/>
              </a:ext>
            </a:extLst>
          </p:cNvPr>
          <p:cNvSpPr/>
          <p:nvPr/>
        </p:nvSpPr>
        <p:spPr bwMode="auto">
          <a:xfrm>
            <a:off x="2075232" y="1584485"/>
            <a:ext cx="2120541" cy="326861"/>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Segoe UI Semibold"/>
                <a:ea typeface="+mn-ea"/>
                <a:cs typeface="Segoe UI" pitchFamily="34" charset="0"/>
              </a:rPr>
              <a:t>Azure IoT </a:t>
            </a:r>
            <a:br>
              <a:rPr kumimoji="0" lang="en-US" sz="1200" b="1" i="0" u="none" strike="noStrike" kern="0" cap="none" spc="0" normalizeH="0" baseline="0" noProof="0">
                <a:ln>
                  <a:noFill/>
                </a:ln>
                <a:solidFill>
                  <a:srgbClr val="FFFFFF"/>
                </a:solidFill>
                <a:effectLst/>
                <a:uLnTx/>
                <a:uFillTx/>
                <a:latin typeface="Segoe UI Semibold"/>
                <a:ea typeface="+mn-ea"/>
                <a:cs typeface="Segoe UI" pitchFamily="34" charset="0"/>
              </a:rPr>
            </a:br>
            <a:r>
              <a:rPr kumimoji="0" lang="en-US" sz="1200" b="1" i="0" u="none" strike="noStrike" kern="0" cap="none" spc="0" normalizeH="0" baseline="0" noProof="0">
                <a:ln>
                  <a:noFill/>
                </a:ln>
                <a:solidFill>
                  <a:srgbClr val="FFFFFF"/>
                </a:solidFill>
                <a:effectLst/>
                <a:uLnTx/>
                <a:uFillTx/>
                <a:latin typeface="Segoe UI Semibold"/>
                <a:ea typeface="+mn-ea"/>
                <a:cs typeface="Segoe UI" pitchFamily="34" charset="0"/>
              </a:rPr>
              <a:t>priority verticals</a:t>
            </a:r>
          </a:p>
        </p:txBody>
      </p:sp>
      <p:sp>
        <p:nvSpPr>
          <p:cNvPr id="97" name="Rectangle 96">
            <a:extLst>
              <a:ext uri="{FF2B5EF4-FFF2-40B4-BE49-F238E27FC236}">
                <a16:creationId xmlns:a16="http://schemas.microsoft.com/office/drawing/2014/main" id="{4609A874-4516-4150-97CB-331D88C65337}"/>
              </a:ext>
            </a:extLst>
          </p:cNvPr>
          <p:cNvSpPr/>
          <p:nvPr/>
        </p:nvSpPr>
        <p:spPr bwMode="auto">
          <a:xfrm>
            <a:off x="2247621" y="4027292"/>
            <a:ext cx="2066989" cy="326861"/>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solidFill>
                  <a:srgbClr val="50E6FF"/>
                </a:solidFill>
                <a:effectLst/>
                <a:uLnTx/>
                <a:uFillTx/>
                <a:latin typeface="Segoe UI Semibold"/>
                <a:ea typeface="+mn-ea"/>
                <a:cs typeface="Segoe UI" pitchFamily="34" charset="0"/>
              </a:rPr>
              <a:t>Azure Services for IoT</a:t>
            </a:r>
          </a:p>
        </p:txBody>
      </p:sp>
      <p:sp>
        <p:nvSpPr>
          <p:cNvPr id="98" name="Rectangle 97">
            <a:extLst>
              <a:ext uri="{FF2B5EF4-FFF2-40B4-BE49-F238E27FC236}">
                <a16:creationId xmlns:a16="http://schemas.microsoft.com/office/drawing/2014/main" id="{AD892763-FBCB-430F-80B6-11DF3F03A662}"/>
              </a:ext>
            </a:extLst>
          </p:cNvPr>
          <p:cNvSpPr/>
          <p:nvPr/>
        </p:nvSpPr>
        <p:spPr>
          <a:xfrm>
            <a:off x="4087637" y="3473407"/>
            <a:ext cx="7755889" cy="1373420"/>
          </a:xfrm>
          <a:prstGeom prst="rect">
            <a:avLst/>
          </a:prstGeom>
        </p:spPr>
        <p:txBody>
          <a:bodyPr wrap="square" lIns="91427" numCol="3" anchor="ctr">
            <a:noAutofit/>
          </a:bodyPr>
          <a:lstStyle/>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IoT Hub</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IoT Hub Device</a:t>
            </a:r>
            <a:b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b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Provisioning Service</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Digital Twins</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Time Series Insights</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Maps</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Stream Analytics</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Cosmos DB</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AI</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Cognitive Services</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ML</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Logic Apps</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Active Directory</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Monitor</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DevOps</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Power BI</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Data Share</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Spatial Anchors </a:t>
            </a:r>
          </a:p>
        </p:txBody>
      </p:sp>
      <p:sp>
        <p:nvSpPr>
          <p:cNvPr id="99" name="Rectangle 98">
            <a:extLst>
              <a:ext uri="{FF2B5EF4-FFF2-40B4-BE49-F238E27FC236}">
                <a16:creationId xmlns:a16="http://schemas.microsoft.com/office/drawing/2014/main" id="{161FE5A5-3267-4773-9CBF-99B36F3DDD73}"/>
              </a:ext>
            </a:extLst>
          </p:cNvPr>
          <p:cNvSpPr/>
          <p:nvPr/>
        </p:nvSpPr>
        <p:spPr bwMode="auto">
          <a:xfrm>
            <a:off x="2247621" y="5594187"/>
            <a:ext cx="2066989" cy="326861"/>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solidFill>
                  <a:srgbClr val="50E6FF"/>
                </a:solidFill>
                <a:effectLst/>
                <a:uLnTx/>
                <a:uFillTx/>
                <a:latin typeface="Segoe UI Semibold"/>
                <a:ea typeface="Segoe UI" pitchFamily="34" charset="0"/>
                <a:cs typeface="Segoe UI" pitchFamily="34" charset="0"/>
              </a:rPr>
              <a:t>IoT &amp; Edge</a:t>
            </a: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solidFill>
                  <a:srgbClr val="50E6FF"/>
                </a:solidFill>
                <a:effectLst/>
                <a:uLnTx/>
                <a:uFillTx/>
                <a:latin typeface="Segoe UI Semibold"/>
                <a:ea typeface="Segoe UI" pitchFamily="34" charset="0"/>
                <a:cs typeface="Segoe UI" pitchFamily="34" charset="0"/>
              </a:rPr>
              <a:t>Device Support</a:t>
            </a:r>
          </a:p>
        </p:txBody>
      </p:sp>
      <p:sp>
        <p:nvSpPr>
          <p:cNvPr id="100" name="Rectangle 99">
            <a:extLst>
              <a:ext uri="{FF2B5EF4-FFF2-40B4-BE49-F238E27FC236}">
                <a16:creationId xmlns:a16="http://schemas.microsoft.com/office/drawing/2014/main" id="{0A1B0496-F650-4E85-8FE9-C02771F4AC75}"/>
              </a:ext>
            </a:extLst>
          </p:cNvPr>
          <p:cNvSpPr/>
          <p:nvPr/>
        </p:nvSpPr>
        <p:spPr>
          <a:xfrm>
            <a:off x="4087643" y="5204056"/>
            <a:ext cx="7755883" cy="1141016"/>
          </a:xfrm>
          <a:prstGeom prst="rect">
            <a:avLst/>
          </a:prstGeom>
        </p:spPr>
        <p:txBody>
          <a:bodyPr wrap="square" lIns="91427" numCol="3" anchor="ctr">
            <a:noAutofit/>
          </a:bodyPr>
          <a:lstStyle/>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RTOS</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Sphere</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IoT Device SDK</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IoT Edge</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Stack Edge</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Windows IoT </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Certified for IoT—Device Catalog</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Stream Analytics</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Storage </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ML</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SQL</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Functions</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Cognitive Services</a:t>
            </a:r>
          </a:p>
        </p:txBody>
      </p:sp>
      <p:cxnSp>
        <p:nvCxnSpPr>
          <p:cNvPr id="101" name="Straight Connector 100">
            <a:extLst>
              <a:ext uri="{FF2B5EF4-FFF2-40B4-BE49-F238E27FC236}">
                <a16:creationId xmlns:a16="http://schemas.microsoft.com/office/drawing/2014/main" id="{AB34E5DD-DCB6-4A2D-9039-63C94196B405}"/>
              </a:ext>
              <a:ext uri="{C183D7F6-B498-43B3-948B-1728B52AA6E4}">
                <adec:decorative xmlns:adec="http://schemas.microsoft.com/office/drawing/2017/decorative" val="1"/>
              </a:ext>
            </a:extLst>
          </p:cNvPr>
          <p:cNvCxnSpPr>
            <a:cxnSpLocks/>
          </p:cNvCxnSpPr>
          <p:nvPr/>
        </p:nvCxnSpPr>
        <p:spPr>
          <a:xfrm>
            <a:off x="1995754" y="2124986"/>
            <a:ext cx="9847773" cy="0"/>
          </a:xfrm>
          <a:prstGeom prst="line">
            <a:avLst/>
          </a:prstGeom>
          <a:noFill/>
          <a:ln w="12700" cap="flat" cmpd="sng" algn="ctr">
            <a:solidFill>
              <a:schemeClr val="bg1">
                <a:lumMod val="65000"/>
                <a:lumOff val="35000"/>
              </a:schemeClr>
            </a:solidFill>
            <a:prstDash val="solid"/>
            <a:headEnd type="none" w="med" len="med"/>
            <a:tailEnd type="none" w="med" len="med"/>
          </a:ln>
          <a:effectLst/>
        </p:spPr>
      </p:cxnSp>
      <p:sp>
        <p:nvSpPr>
          <p:cNvPr id="102" name="Rectangle 101">
            <a:extLst>
              <a:ext uri="{FF2B5EF4-FFF2-40B4-BE49-F238E27FC236}">
                <a16:creationId xmlns:a16="http://schemas.microsoft.com/office/drawing/2014/main" id="{D2DB11BE-2A53-44E4-913B-B3FE2CEBA450}"/>
              </a:ext>
            </a:extLst>
          </p:cNvPr>
          <p:cNvSpPr/>
          <p:nvPr/>
        </p:nvSpPr>
        <p:spPr bwMode="auto">
          <a:xfrm>
            <a:off x="2247622" y="2598655"/>
            <a:ext cx="1751338" cy="326861"/>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solidFill>
                  <a:srgbClr val="50E6FF"/>
                </a:solidFill>
                <a:effectLst/>
                <a:uLnTx/>
                <a:uFillTx/>
                <a:latin typeface="Segoe UI Semibold"/>
                <a:ea typeface="+mn-ea"/>
                <a:cs typeface="Segoe UI" pitchFamily="34" charset="0"/>
              </a:rPr>
              <a:t>Azure IoT Solutions</a:t>
            </a:r>
          </a:p>
        </p:txBody>
      </p:sp>
      <p:sp>
        <p:nvSpPr>
          <p:cNvPr id="103" name="Rectangle 102">
            <a:extLst>
              <a:ext uri="{FF2B5EF4-FFF2-40B4-BE49-F238E27FC236}">
                <a16:creationId xmlns:a16="http://schemas.microsoft.com/office/drawing/2014/main" id="{A090862A-0645-419E-ABDD-55785AAF7AB7}"/>
              </a:ext>
            </a:extLst>
          </p:cNvPr>
          <p:cNvSpPr/>
          <p:nvPr/>
        </p:nvSpPr>
        <p:spPr bwMode="auto">
          <a:xfrm>
            <a:off x="4053785" y="2422585"/>
            <a:ext cx="1555763" cy="679001"/>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91427" tIns="146225" rIns="182780" bIns="146225" numCol="1" spcCol="0" rtlCol="0" fromWordArt="0" anchor="ctr" anchorCtr="0" forceAA="0" compatLnSpc="1">
            <a:prstTxWarp prst="textNoShape">
              <a:avLst/>
            </a:prstTxWarp>
            <a:spAutoFit/>
          </a:bodyPr>
          <a:lstStyle/>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IoT Central </a:t>
            </a:r>
          </a:p>
          <a:p>
            <a:pPr marL="0" marR="0" lvl="0" indent="0" algn="l" defTabSz="931834" rtl="0" eaLnBrk="1" fontAlgn="base" latinLnBrk="0" hangingPunct="1">
              <a:lnSpc>
                <a:spcPct val="90000"/>
              </a:lnSpc>
              <a:spcBef>
                <a:spcPct val="0"/>
              </a:spcBef>
              <a:spcAft>
                <a:spcPts val="4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SaaS)</a:t>
            </a:r>
          </a:p>
        </p:txBody>
      </p:sp>
      <p:sp>
        <p:nvSpPr>
          <p:cNvPr id="104" name="Rectangle 103">
            <a:extLst>
              <a:ext uri="{FF2B5EF4-FFF2-40B4-BE49-F238E27FC236}">
                <a16:creationId xmlns:a16="http://schemas.microsoft.com/office/drawing/2014/main" id="{F3EE5285-A24F-4E3B-B73F-256A64735CFA}"/>
              </a:ext>
            </a:extLst>
          </p:cNvPr>
          <p:cNvSpPr/>
          <p:nvPr/>
        </p:nvSpPr>
        <p:spPr bwMode="auto">
          <a:xfrm>
            <a:off x="6477604" y="2365131"/>
            <a:ext cx="2367639" cy="793908"/>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182780" tIns="146225" rIns="182780" bIns="146225" numCol="1" spcCol="0" rtlCol="0" fromWordArt="0" anchor="ctr" anchorCtr="0" forceAA="0" compatLnSpc="1">
            <a:prstTxWarp prst="textNoShape">
              <a:avLst/>
            </a:prstTxWarp>
            <a:spAutoFit/>
          </a:bodyPr>
          <a:lstStyle/>
          <a:p>
            <a:pPr marL="0" marR="0" lvl="0" indent="0" algn="l" defTabSz="931834"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Azure IoT Reference Architecture &amp; Accelerators  </a:t>
            </a:r>
            <a:b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b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PaaS)</a:t>
            </a:r>
          </a:p>
        </p:txBody>
      </p:sp>
      <p:grpSp>
        <p:nvGrpSpPr>
          <p:cNvPr id="105" name="Graphic 56">
            <a:extLst>
              <a:ext uri="{FF2B5EF4-FFF2-40B4-BE49-F238E27FC236}">
                <a16:creationId xmlns:a16="http://schemas.microsoft.com/office/drawing/2014/main" id="{721B3BA5-2505-4C40-8DF1-8B9283EDE92C}"/>
              </a:ext>
              <a:ext uri="{C183D7F6-B498-43B3-948B-1728B52AA6E4}">
                <adec:decorative xmlns:adec="http://schemas.microsoft.com/office/drawing/2017/decorative" val="1"/>
              </a:ext>
            </a:extLst>
          </p:cNvPr>
          <p:cNvGrpSpPr/>
          <p:nvPr/>
        </p:nvGrpSpPr>
        <p:grpSpPr>
          <a:xfrm>
            <a:off x="11154796" y="1315012"/>
            <a:ext cx="451987" cy="259444"/>
            <a:chOff x="9027932" y="2355248"/>
            <a:chExt cx="791527" cy="454343"/>
          </a:xfrm>
          <a:solidFill>
            <a:srgbClr val="50E6FF"/>
          </a:solidFill>
        </p:grpSpPr>
        <p:sp>
          <p:nvSpPr>
            <p:cNvPr id="106" name="Freeform: Shape 105">
              <a:extLst>
                <a:ext uri="{FF2B5EF4-FFF2-40B4-BE49-F238E27FC236}">
                  <a16:creationId xmlns:a16="http://schemas.microsoft.com/office/drawing/2014/main" id="{03537B3C-2198-4212-B053-0489C1863956}"/>
                </a:ext>
              </a:extLst>
            </p:cNvPr>
            <p:cNvSpPr/>
            <p:nvPr/>
          </p:nvSpPr>
          <p:spPr>
            <a:xfrm>
              <a:off x="9027932" y="2355248"/>
              <a:ext cx="581025" cy="400050"/>
            </a:xfrm>
            <a:custGeom>
              <a:avLst/>
              <a:gdLst>
                <a:gd name="connsiteX0" fmla="*/ 0 w 581025"/>
                <a:gd name="connsiteY0" fmla="*/ 0 h 400050"/>
                <a:gd name="connsiteX1" fmla="*/ 0 w 581025"/>
                <a:gd name="connsiteY1" fmla="*/ 406718 h 400050"/>
                <a:gd name="connsiteX2" fmla="*/ 46673 w 581025"/>
                <a:gd name="connsiteY2" fmla="*/ 406718 h 400050"/>
                <a:gd name="connsiteX3" fmla="*/ 116205 w 581025"/>
                <a:gd name="connsiteY3" fmla="*/ 341948 h 400050"/>
                <a:gd name="connsiteX4" fmla="*/ 185738 w 581025"/>
                <a:gd name="connsiteY4" fmla="*/ 406718 h 400050"/>
                <a:gd name="connsiteX5" fmla="*/ 581025 w 581025"/>
                <a:gd name="connsiteY5" fmla="*/ 406718 h 400050"/>
                <a:gd name="connsiteX6" fmla="*/ 581025 w 581025"/>
                <a:gd name="connsiteY6" fmla="*/ 0 h 400050"/>
                <a:gd name="connsiteX7" fmla="*/ 0 w 581025"/>
                <a:gd name="connsiteY7" fmla="*/ 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1025" h="400050">
                  <a:moveTo>
                    <a:pt x="0" y="0"/>
                  </a:moveTo>
                  <a:lnTo>
                    <a:pt x="0" y="406718"/>
                  </a:lnTo>
                  <a:lnTo>
                    <a:pt x="46673" y="406718"/>
                  </a:lnTo>
                  <a:cubicBezTo>
                    <a:pt x="49530" y="370523"/>
                    <a:pt x="79058" y="341948"/>
                    <a:pt x="116205" y="341948"/>
                  </a:cubicBezTo>
                  <a:cubicBezTo>
                    <a:pt x="153353" y="341948"/>
                    <a:pt x="182880" y="370523"/>
                    <a:pt x="185738" y="406718"/>
                  </a:cubicBezTo>
                  <a:lnTo>
                    <a:pt x="581025" y="406718"/>
                  </a:lnTo>
                  <a:lnTo>
                    <a:pt x="581025" y="0"/>
                  </a:lnTo>
                  <a:lnTo>
                    <a:pt x="0" y="0"/>
                  </a:lnTo>
                  <a:close/>
                </a:path>
              </a:pathLst>
            </a:custGeom>
            <a:solidFill>
              <a:srgbClr val="50E6F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1F9EA930-079A-455D-B7E4-6C53086A1DBD}"/>
                </a:ext>
              </a:extLst>
            </p:cNvPr>
            <p:cNvSpPr/>
            <p:nvPr/>
          </p:nvSpPr>
          <p:spPr>
            <a:xfrm>
              <a:off x="9093655" y="2714341"/>
              <a:ext cx="95250" cy="95250"/>
            </a:xfrm>
            <a:custGeom>
              <a:avLst/>
              <a:gdLst>
                <a:gd name="connsiteX0" fmla="*/ 100965 w 95250"/>
                <a:gd name="connsiteY0" fmla="*/ 50483 h 95250"/>
                <a:gd name="connsiteX1" fmla="*/ 50483 w 95250"/>
                <a:gd name="connsiteY1" fmla="*/ 100965 h 95250"/>
                <a:gd name="connsiteX2" fmla="*/ 0 w 95250"/>
                <a:gd name="connsiteY2" fmla="*/ 50483 h 95250"/>
                <a:gd name="connsiteX3" fmla="*/ 50483 w 95250"/>
                <a:gd name="connsiteY3" fmla="*/ 0 h 95250"/>
                <a:gd name="connsiteX4" fmla="*/ 100965 w 95250"/>
                <a:gd name="connsiteY4" fmla="*/ 50483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100965" y="50483"/>
                  </a:moveTo>
                  <a:cubicBezTo>
                    <a:pt x="100965" y="78363"/>
                    <a:pt x="78363" y="100965"/>
                    <a:pt x="50483" y="100965"/>
                  </a:cubicBezTo>
                  <a:cubicBezTo>
                    <a:pt x="22602" y="100965"/>
                    <a:pt x="0" y="78363"/>
                    <a:pt x="0" y="50483"/>
                  </a:cubicBezTo>
                  <a:cubicBezTo>
                    <a:pt x="0" y="22602"/>
                    <a:pt x="22602" y="0"/>
                    <a:pt x="50483" y="0"/>
                  </a:cubicBezTo>
                  <a:cubicBezTo>
                    <a:pt x="78363" y="0"/>
                    <a:pt x="100965" y="22602"/>
                    <a:pt x="100965" y="50483"/>
                  </a:cubicBezTo>
                  <a:close/>
                </a:path>
              </a:pathLst>
            </a:custGeom>
            <a:solidFill>
              <a:srgbClr val="E6E6E6"/>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108" name="Graphic 56">
              <a:extLst>
                <a:ext uri="{FF2B5EF4-FFF2-40B4-BE49-F238E27FC236}">
                  <a16:creationId xmlns:a16="http://schemas.microsoft.com/office/drawing/2014/main" id="{7A39C90A-67A2-4AB6-9948-94F70D8AF6BC}"/>
                </a:ext>
              </a:extLst>
            </p:cNvPr>
            <p:cNvGrpSpPr/>
            <p:nvPr/>
          </p:nvGrpSpPr>
          <p:grpSpPr>
            <a:xfrm>
              <a:off x="9609909" y="2431448"/>
              <a:ext cx="209550" cy="329565"/>
              <a:chOff x="9609909" y="2431448"/>
              <a:chExt cx="209550" cy="329565"/>
            </a:xfrm>
            <a:solidFill>
              <a:srgbClr val="50E6FF"/>
            </a:solidFill>
          </p:grpSpPr>
          <p:sp>
            <p:nvSpPr>
              <p:cNvPr id="110" name="Freeform: Shape 109">
                <a:extLst>
                  <a:ext uri="{FF2B5EF4-FFF2-40B4-BE49-F238E27FC236}">
                    <a16:creationId xmlns:a16="http://schemas.microsoft.com/office/drawing/2014/main" id="{199049B4-8579-479E-96B5-00E79DBC5876}"/>
                  </a:ext>
                </a:extLst>
              </p:cNvPr>
              <p:cNvSpPr/>
              <p:nvPr/>
            </p:nvSpPr>
            <p:spPr>
              <a:xfrm>
                <a:off x="9665155" y="2713388"/>
                <a:ext cx="95250" cy="47625"/>
              </a:xfrm>
              <a:custGeom>
                <a:avLst/>
                <a:gdLst>
                  <a:gd name="connsiteX0" fmla="*/ 50482 w 95250"/>
                  <a:gd name="connsiteY0" fmla="*/ 0 h 47625"/>
                  <a:gd name="connsiteX1" fmla="*/ 0 w 95250"/>
                  <a:gd name="connsiteY1" fmla="*/ 47625 h 47625"/>
                  <a:gd name="connsiteX2" fmla="*/ 100965 w 95250"/>
                  <a:gd name="connsiteY2" fmla="*/ 47625 h 47625"/>
                  <a:gd name="connsiteX3" fmla="*/ 50482 w 95250"/>
                  <a:gd name="connsiteY3" fmla="*/ 0 h 47625"/>
                </a:gdLst>
                <a:ahLst/>
                <a:cxnLst>
                  <a:cxn ang="0">
                    <a:pos x="connsiteX0" y="connsiteY0"/>
                  </a:cxn>
                  <a:cxn ang="0">
                    <a:pos x="connsiteX1" y="connsiteY1"/>
                  </a:cxn>
                  <a:cxn ang="0">
                    <a:pos x="connsiteX2" y="connsiteY2"/>
                  </a:cxn>
                  <a:cxn ang="0">
                    <a:pos x="connsiteX3" y="connsiteY3"/>
                  </a:cxn>
                </a:cxnLst>
                <a:rect l="l" t="t" r="r" b="b"/>
                <a:pathLst>
                  <a:path w="95250" h="47625">
                    <a:moveTo>
                      <a:pt x="50482" y="0"/>
                    </a:moveTo>
                    <a:cubicBezTo>
                      <a:pt x="23813" y="0"/>
                      <a:pt x="1905" y="20955"/>
                      <a:pt x="0" y="47625"/>
                    </a:cubicBezTo>
                    <a:lnTo>
                      <a:pt x="100965" y="47625"/>
                    </a:lnTo>
                    <a:cubicBezTo>
                      <a:pt x="99060" y="20955"/>
                      <a:pt x="77152" y="0"/>
                      <a:pt x="50482" y="0"/>
                    </a:cubicBezTo>
                    <a:close/>
                  </a:path>
                </a:pathLst>
              </a:custGeom>
              <a:solidFill>
                <a:srgbClr val="8661C5"/>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8B3811A4-DD83-4D3E-84A6-D6020E402507}"/>
                  </a:ext>
                </a:extLst>
              </p:cNvPr>
              <p:cNvSpPr/>
              <p:nvPr/>
            </p:nvSpPr>
            <p:spPr>
              <a:xfrm>
                <a:off x="9609909" y="2431448"/>
                <a:ext cx="209550" cy="323850"/>
              </a:xfrm>
              <a:custGeom>
                <a:avLst/>
                <a:gdLst>
                  <a:gd name="connsiteX0" fmla="*/ 213360 w 209550"/>
                  <a:gd name="connsiteY0" fmla="*/ 172403 h 323850"/>
                  <a:gd name="connsiteX1" fmla="*/ 40958 w 209550"/>
                  <a:gd name="connsiteY1" fmla="*/ 0 h 323850"/>
                  <a:gd name="connsiteX2" fmla="*/ 0 w 209550"/>
                  <a:gd name="connsiteY2" fmla="*/ 0 h 323850"/>
                  <a:gd name="connsiteX3" fmla="*/ 0 w 209550"/>
                  <a:gd name="connsiteY3" fmla="*/ 330518 h 323850"/>
                  <a:gd name="connsiteX4" fmla="*/ 35243 w 209550"/>
                  <a:gd name="connsiteY4" fmla="*/ 330518 h 323850"/>
                  <a:gd name="connsiteX5" fmla="*/ 104775 w 209550"/>
                  <a:gd name="connsiteY5" fmla="*/ 263843 h 323850"/>
                  <a:gd name="connsiteX6" fmla="*/ 174308 w 209550"/>
                  <a:gd name="connsiteY6" fmla="*/ 330518 h 323850"/>
                  <a:gd name="connsiteX7" fmla="*/ 212408 w 209550"/>
                  <a:gd name="connsiteY7" fmla="*/ 330518 h 323850"/>
                  <a:gd name="connsiteX8" fmla="*/ 212408 w 209550"/>
                  <a:gd name="connsiteY8" fmla="*/ 172403 h 323850"/>
                  <a:gd name="connsiteX9" fmla="*/ 159068 w 209550"/>
                  <a:gd name="connsiteY9" fmla="*/ 136208 h 323850"/>
                  <a:gd name="connsiteX10" fmla="*/ 71438 w 209550"/>
                  <a:gd name="connsiteY10" fmla="*/ 136208 h 323850"/>
                  <a:gd name="connsiteX11" fmla="*/ 71438 w 209550"/>
                  <a:gd name="connsiteY11" fmla="*/ 45720 h 323850"/>
                  <a:gd name="connsiteX12" fmla="*/ 159068 w 209550"/>
                  <a:gd name="connsiteY12" fmla="*/ 133350 h 323850"/>
                  <a:gd name="connsiteX13" fmla="*/ 159068 w 209550"/>
                  <a:gd name="connsiteY13" fmla="*/ 136208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9550" h="323850">
                    <a:moveTo>
                      <a:pt x="213360" y="172403"/>
                    </a:moveTo>
                    <a:cubicBezTo>
                      <a:pt x="213360" y="77152"/>
                      <a:pt x="136208" y="0"/>
                      <a:pt x="40958" y="0"/>
                    </a:cubicBezTo>
                    <a:lnTo>
                      <a:pt x="0" y="0"/>
                    </a:lnTo>
                    <a:lnTo>
                      <a:pt x="0" y="330518"/>
                    </a:lnTo>
                    <a:lnTo>
                      <a:pt x="35243" y="330518"/>
                    </a:lnTo>
                    <a:cubicBezTo>
                      <a:pt x="37148" y="293370"/>
                      <a:pt x="67627" y="263843"/>
                      <a:pt x="104775" y="263843"/>
                    </a:cubicBezTo>
                    <a:cubicBezTo>
                      <a:pt x="141923" y="263843"/>
                      <a:pt x="172402" y="293370"/>
                      <a:pt x="174308" y="330518"/>
                    </a:cubicBezTo>
                    <a:lnTo>
                      <a:pt x="212408" y="330518"/>
                    </a:lnTo>
                    <a:lnTo>
                      <a:pt x="212408" y="172403"/>
                    </a:lnTo>
                    <a:close/>
                    <a:moveTo>
                      <a:pt x="159068" y="136208"/>
                    </a:moveTo>
                    <a:lnTo>
                      <a:pt x="71438" y="136208"/>
                    </a:lnTo>
                    <a:lnTo>
                      <a:pt x="71438" y="45720"/>
                    </a:lnTo>
                    <a:cubicBezTo>
                      <a:pt x="120015" y="45720"/>
                      <a:pt x="159068" y="84773"/>
                      <a:pt x="159068" y="133350"/>
                    </a:cubicBezTo>
                    <a:lnTo>
                      <a:pt x="159068" y="136208"/>
                    </a:lnTo>
                    <a:close/>
                  </a:path>
                </a:pathLst>
              </a:custGeom>
              <a:solidFill>
                <a:srgbClr val="0078D4"/>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sp>
          <p:nvSpPr>
            <p:cNvPr id="109" name="Freeform: Shape 108">
              <a:extLst>
                <a:ext uri="{FF2B5EF4-FFF2-40B4-BE49-F238E27FC236}">
                  <a16:creationId xmlns:a16="http://schemas.microsoft.com/office/drawing/2014/main" id="{588917CF-1B19-4CB1-A1EB-A793CE0C2E20}"/>
                </a:ext>
              </a:extLst>
            </p:cNvPr>
            <p:cNvSpPr/>
            <p:nvPr/>
          </p:nvSpPr>
          <p:spPr>
            <a:xfrm>
              <a:off x="9665155" y="2714341"/>
              <a:ext cx="95250" cy="95250"/>
            </a:xfrm>
            <a:custGeom>
              <a:avLst/>
              <a:gdLst>
                <a:gd name="connsiteX0" fmla="*/ 100965 w 95250"/>
                <a:gd name="connsiteY0" fmla="*/ 50483 h 95250"/>
                <a:gd name="connsiteX1" fmla="*/ 50482 w 95250"/>
                <a:gd name="connsiteY1" fmla="*/ 100965 h 95250"/>
                <a:gd name="connsiteX2" fmla="*/ 0 w 95250"/>
                <a:gd name="connsiteY2" fmla="*/ 50483 h 95250"/>
                <a:gd name="connsiteX3" fmla="*/ 50482 w 95250"/>
                <a:gd name="connsiteY3" fmla="*/ 0 h 95250"/>
                <a:gd name="connsiteX4" fmla="*/ 100965 w 95250"/>
                <a:gd name="connsiteY4" fmla="*/ 50483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100965" y="50483"/>
                  </a:moveTo>
                  <a:cubicBezTo>
                    <a:pt x="100965" y="78363"/>
                    <a:pt x="78363" y="100965"/>
                    <a:pt x="50482" y="100965"/>
                  </a:cubicBezTo>
                  <a:cubicBezTo>
                    <a:pt x="22602" y="100965"/>
                    <a:pt x="0" y="78363"/>
                    <a:pt x="0" y="50483"/>
                  </a:cubicBezTo>
                  <a:cubicBezTo>
                    <a:pt x="0" y="22602"/>
                    <a:pt x="22602" y="0"/>
                    <a:pt x="50482" y="0"/>
                  </a:cubicBezTo>
                  <a:cubicBezTo>
                    <a:pt x="78363" y="0"/>
                    <a:pt x="100965" y="22602"/>
                    <a:pt x="100965" y="50483"/>
                  </a:cubicBezTo>
                  <a:close/>
                </a:path>
              </a:pathLst>
            </a:custGeom>
            <a:solidFill>
              <a:srgbClr val="E6E6E6"/>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sp>
        <p:nvSpPr>
          <p:cNvPr id="112" name="Rectangle 111">
            <a:extLst>
              <a:ext uri="{FF2B5EF4-FFF2-40B4-BE49-F238E27FC236}">
                <a16:creationId xmlns:a16="http://schemas.microsoft.com/office/drawing/2014/main" id="{6BC89A58-9732-45BA-BDB4-2203DB347971}"/>
              </a:ext>
            </a:extLst>
          </p:cNvPr>
          <p:cNvSpPr/>
          <p:nvPr/>
        </p:nvSpPr>
        <p:spPr bwMode="auto">
          <a:xfrm>
            <a:off x="9105640" y="2365131"/>
            <a:ext cx="1747800" cy="793908"/>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none" lIns="91427" tIns="146225" rIns="182780" bIns="146225" numCol="1" spcCol="0" rtlCol="0" fromWordArt="0" anchor="ctr" anchorCtr="0" forceAA="0" compatLnSpc="1">
            <a:prstTxWarp prst="textNoShape">
              <a:avLst/>
            </a:prstTxWarp>
            <a:spAutoFit/>
          </a:bodyPr>
          <a:lstStyle/>
          <a:p>
            <a:pPr marL="0" marR="0" lvl="0" indent="0" algn="l" defTabSz="931834"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Dynamics Connected </a:t>
            </a:r>
          </a:p>
          <a:p>
            <a:pPr marL="0" marR="0" lvl="0" indent="0" algn="l" defTabSz="931834"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Field Service </a:t>
            </a:r>
          </a:p>
          <a:p>
            <a:pPr marL="0" marR="0" lvl="0" indent="0" algn="l" defTabSz="931834"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Arial Unicode MS" pitchFamily="34" charset="-128"/>
                <a:cs typeface="Segoe UI" pitchFamily="34" charset="0"/>
              </a:rPr>
              <a:t>(SaaS)</a:t>
            </a:r>
          </a:p>
        </p:txBody>
      </p:sp>
      <p:sp>
        <p:nvSpPr>
          <p:cNvPr id="113" name="TextBox 112">
            <a:extLst>
              <a:ext uri="{FF2B5EF4-FFF2-40B4-BE49-F238E27FC236}">
                <a16:creationId xmlns:a16="http://schemas.microsoft.com/office/drawing/2014/main" id="{E94A849D-A5AD-46E7-9E30-811889D9F547}"/>
              </a:ext>
            </a:extLst>
          </p:cNvPr>
          <p:cNvSpPr txBox="1"/>
          <p:nvPr/>
        </p:nvSpPr>
        <p:spPr>
          <a:xfrm>
            <a:off x="505829" y="1067517"/>
            <a:ext cx="1569403" cy="261610"/>
          </a:xfrm>
          <a:prstGeom prst="rect">
            <a:avLst/>
          </a:prstGeom>
        </p:spPr>
        <p:txBody>
          <a:bodyPr wrap="square" anchor="t">
            <a:spAutoFit/>
          </a:bodyPr>
          <a:lstStyle>
            <a:defPPr>
              <a:defRPr lang="en-US"/>
            </a:defPPr>
            <a:lvl1pPr algn="ctr" defTabSz="672273" fontAlgn="base">
              <a:spcAft>
                <a:spcPts val="600"/>
              </a:spcAft>
              <a:defRPr sz="1800">
                <a:gradFill>
                  <a:gsLst>
                    <a:gs pos="0">
                      <a:srgbClr val="50E6FF"/>
                    </a:gs>
                    <a:gs pos="100000">
                      <a:srgbClr val="50E6FF"/>
                    </a:gs>
                  </a:gsLst>
                  <a:lin ang="5400000" scaled="0"/>
                </a:gradFill>
                <a:latin typeface="Segoe UI Semibold"/>
                <a:cs typeface="Segoe UI"/>
              </a:defRPr>
            </a:lvl1pPr>
          </a:lstStyle>
          <a:p>
            <a:pPr marL="0" marR="0" lvl="0" indent="0" algn="l" defTabSz="672273" rtl="0" eaLnBrk="1" fontAlgn="base"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a:ln>
                  <a:noFill/>
                </a:ln>
                <a:solidFill>
                  <a:srgbClr val="50E6FF"/>
                </a:solidFill>
                <a:effectLst/>
                <a:uLnTx/>
                <a:uFillTx/>
                <a:latin typeface="Segoe UI Semibold"/>
                <a:ea typeface="+mn-ea"/>
                <a:cs typeface="Segoe UI"/>
                <a:sym typeface="Wingdings" pitchFamily="2" charset="2"/>
              </a:rPr>
              <a:t></a:t>
            </a:r>
            <a:r>
              <a:rPr kumimoji="0" lang="en-US" sz="1100" b="0" i="0" u="none" strike="noStrike" kern="0" cap="none" spc="0" normalizeH="0" baseline="0" noProof="0">
                <a:ln>
                  <a:noFill/>
                </a:ln>
                <a:solidFill>
                  <a:srgbClr val="50E6FF"/>
                </a:solidFill>
                <a:effectLst/>
                <a:uLnTx/>
                <a:uFillTx/>
                <a:latin typeface="Segoe UI Semibold"/>
                <a:ea typeface="+mn-ea"/>
                <a:cs typeface="Segoe UI"/>
                <a:sym typeface="Wingdings" pitchFamily="2" charset="2"/>
              </a:rPr>
              <a:t> </a:t>
            </a:r>
            <a:r>
              <a:rPr kumimoji="0" lang="en-US" sz="1100" b="0" i="0" u="none" strike="noStrike" kern="0" cap="none" spc="0" normalizeH="0" baseline="0" noProof="0">
                <a:ln>
                  <a:noFill/>
                </a:ln>
                <a:solidFill>
                  <a:srgbClr val="50E6FF"/>
                </a:solidFill>
                <a:effectLst/>
                <a:uLnTx/>
                <a:uFillTx/>
                <a:latin typeface="Segoe UI Semibold"/>
                <a:ea typeface="+mn-ea"/>
                <a:cs typeface="Segoe UI"/>
              </a:rPr>
              <a:t>aka.ms/mslearniot</a:t>
            </a:r>
          </a:p>
        </p:txBody>
      </p:sp>
      <p:pic>
        <p:nvPicPr>
          <p:cNvPr id="114" name="Graphic 113">
            <a:extLst>
              <a:ext uri="{FF2B5EF4-FFF2-40B4-BE49-F238E27FC236}">
                <a16:creationId xmlns:a16="http://schemas.microsoft.com/office/drawing/2014/main" id="{74B1A5E3-E4F7-4845-B3C7-0F5597E6C05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56380" y="1219968"/>
            <a:ext cx="449533" cy="449533"/>
          </a:xfrm>
          <a:prstGeom prst="rect">
            <a:avLst/>
          </a:prstGeom>
        </p:spPr>
      </p:pic>
      <p:pic>
        <p:nvPicPr>
          <p:cNvPr id="115" name="Graphic 114">
            <a:extLst>
              <a:ext uri="{FF2B5EF4-FFF2-40B4-BE49-F238E27FC236}">
                <a16:creationId xmlns:a16="http://schemas.microsoft.com/office/drawing/2014/main" id="{FEE99A39-3306-4F79-928C-20DE54EB568D}"/>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802459" y="1141553"/>
            <a:ext cx="606362" cy="606362"/>
          </a:xfrm>
          <a:prstGeom prst="rect">
            <a:avLst/>
          </a:prstGeom>
        </p:spPr>
      </p:pic>
      <p:graphicFrame>
        <p:nvGraphicFramePr>
          <p:cNvPr id="116" name="Table 35">
            <a:extLst>
              <a:ext uri="{FF2B5EF4-FFF2-40B4-BE49-F238E27FC236}">
                <a16:creationId xmlns:a16="http://schemas.microsoft.com/office/drawing/2014/main" id="{EE5236DF-4154-493E-83C8-11A9A858E981}"/>
              </a:ext>
            </a:extLst>
          </p:cNvPr>
          <p:cNvGraphicFramePr>
            <a:graphicFrameLocks noGrp="1"/>
          </p:cNvGraphicFramePr>
          <p:nvPr/>
        </p:nvGraphicFramePr>
        <p:xfrm>
          <a:off x="4011062" y="1727541"/>
          <a:ext cx="7960253" cy="251460"/>
        </p:xfrm>
        <a:graphic>
          <a:graphicData uri="http://schemas.openxmlformats.org/drawingml/2006/table">
            <a:tbl>
              <a:tblPr firstRow="1" bandRow="1"/>
              <a:tblGrid>
                <a:gridCol w="1137179">
                  <a:extLst>
                    <a:ext uri="{9D8B030D-6E8A-4147-A177-3AD203B41FA5}">
                      <a16:colId xmlns:a16="http://schemas.microsoft.com/office/drawing/2014/main" val="1027986040"/>
                    </a:ext>
                  </a:extLst>
                </a:gridCol>
                <a:gridCol w="1137179">
                  <a:extLst>
                    <a:ext uri="{9D8B030D-6E8A-4147-A177-3AD203B41FA5}">
                      <a16:colId xmlns:a16="http://schemas.microsoft.com/office/drawing/2014/main" val="2943327607"/>
                    </a:ext>
                  </a:extLst>
                </a:gridCol>
                <a:gridCol w="1137179">
                  <a:extLst>
                    <a:ext uri="{9D8B030D-6E8A-4147-A177-3AD203B41FA5}">
                      <a16:colId xmlns:a16="http://schemas.microsoft.com/office/drawing/2014/main" val="901295776"/>
                    </a:ext>
                  </a:extLst>
                </a:gridCol>
                <a:gridCol w="1137179">
                  <a:extLst>
                    <a:ext uri="{9D8B030D-6E8A-4147-A177-3AD203B41FA5}">
                      <a16:colId xmlns:a16="http://schemas.microsoft.com/office/drawing/2014/main" val="1973930467"/>
                    </a:ext>
                  </a:extLst>
                </a:gridCol>
                <a:gridCol w="1137179">
                  <a:extLst>
                    <a:ext uri="{9D8B030D-6E8A-4147-A177-3AD203B41FA5}">
                      <a16:colId xmlns:a16="http://schemas.microsoft.com/office/drawing/2014/main" val="90731298"/>
                    </a:ext>
                  </a:extLst>
                </a:gridCol>
                <a:gridCol w="1137179">
                  <a:extLst>
                    <a:ext uri="{9D8B030D-6E8A-4147-A177-3AD203B41FA5}">
                      <a16:colId xmlns:a16="http://schemas.microsoft.com/office/drawing/2014/main" val="3558819566"/>
                    </a:ext>
                  </a:extLst>
                </a:gridCol>
                <a:gridCol w="1137179">
                  <a:extLst>
                    <a:ext uri="{9D8B030D-6E8A-4147-A177-3AD203B41FA5}">
                      <a16:colId xmlns:a16="http://schemas.microsoft.com/office/drawing/2014/main" val="1844448066"/>
                    </a:ext>
                  </a:extLst>
                </a:gridCol>
              </a:tblGrid>
              <a:tr h="161553">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effectLst/>
                          <a:uLnTx/>
                          <a:uFillTx/>
                          <a:latin typeface="Segoe UI Semibold" panose="020B0702040204020203" pitchFamily="34" charset="0"/>
                          <a:ea typeface="Arial Unicode MS" pitchFamily="34" charset="-128"/>
                          <a:cs typeface="Segoe UI Semibold" panose="020B0702040204020203" pitchFamily="34" charset="0"/>
                        </a:rPr>
                        <a:t>Manufacturing</a:t>
                      </a:r>
                    </a:p>
                  </a:txBody>
                  <a:tcPr anchor="ct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effectLst/>
                          <a:uLnTx/>
                          <a:uFillTx/>
                          <a:latin typeface="Segoe UI Semibold" panose="020B0702040204020203" pitchFamily="34" charset="0"/>
                          <a:ea typeface="Arial Unicode MS" pitchFamily="34" charset="-128"/>
                          <a:cs typeface="Segoe UI Semibold" panose="020B0702040204020203" pitchFamily="34" charset="0"/>
                        </a:rPr>
                        <a:t>Retai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effectLst/>
                          <a:uLnTx/>
                          <a:uFillTx/>
                          <a:latin typeface="Segoe UI Semibold" panose="020B0702040204020203" pitchFamily="34" charset="0"/>
                          <a:ea typeface="Arial Unicode MS" pitchFamily="34" charset="-128"/>
                          <a:cs typeface="Segoe UI Semibold" panose="020B0702040204020203" pitchFamily="34" charset="0"/>
                        </a:rPr>
                        <a:t>Agricultu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effectLst/>
                          <a:uLnTx/>
                          <a:uFillTx/>
                          <a:latin typeface="Segoe UI Semibold" panose="020B0702040204020203" pitchFamily="34" charset="0"/>
                          <a:ea typeface="Arial Unicode MS" pitchFamily="34" charset="-128"/>
                          <a:cs typeface="Segoe UI Semibold" panose="020B0702040204020203" pitchFamily="34" charset="0"/>
                        </a:rPr>
                        <a:t>Energ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effectLst/>
                          <a:uLnTx/>
                          <a:uFillTx/>
                          <a:latin typeface="Segoe UI Semibold" panose="020B0702040204020203" pitchFamily="34" charset="0"/>
                          <a:ea typeface="Arial Unicode MS" pitchFamily="34" charset="-128"/>
                          <a:cs typeface="Segoe UI Semibold" panose="020B0702040204020203" pitchFamily="34" charset="0"/>
                        </a:rPr>
                        <a:t>Smart C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effectLst/>
                          <a:uLnTx/>
                          <a:uFillTx/>
                          <a:latin typeface="Segoe UI Semibold" panose="020B0702040204020203" pitchFamily="34" charset="0"/>
                          <a:ea typeface="Arial Unicode MS" pitchFamily="34" charset="-128"/>
                          <a:cs typeface="Segoe UI Semibold" panose="020B0702040204020203" pitchFamily="34" charset="0"/>
                        </a:rPr>
                        <a:t>Healthca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effectLst/>
                          <a:uLnTx/>
                          <a:uFillTx/>
                          <a:latin typeface="Segoe UI Semibold" panose="020B0702040204020203" pitchFamily="34" charset="0"/>
                          <a:ea typeface="Arial Unicode MS" pitchFamily="34" charset="-128"/>
                          <a:cs typeface="Segoe UI Semibold" panose="020B0702040204020203" pitchFamily="34" charset="0"/>
                        </a:rPr>
                        <a:t>Transportation</a:t>
                      </a:r>
                    </a:p>
                  </a:txBody>
                  <a:tcPr anchor="ct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27486030"/>
                  </a:ext>
                </a:extLst>
              </a:tr>
            </a:tbl>
          </a:graphicData>
        </a:graphic>
      </p:graphicFrame>
      <p:cxnSp>
        <p:nvCxnSpPr>
          <p:cNvPr id="117" name="Straight Connector 116">
            <a:extLst>
              <a:ext uri="{FF2B5EF4-FFF2-40B4-BE49-F238E27FC236}">
                <a16:creationId xmlns:a16="http://schemas.microsoft.com/office/drawing/2014/main" id="{50DFE722-EEFB-4639-A07A-54B5B090F163}"/>
              </a:ext>
              <a:ext uri="{C183D7F6-B498-43B3-948B-1728B52AA6E4}">
                <adec:decorative xmlns:adec="http://schemas.microsoft.com/office/drawing/2017/decorative" val="1"/>
              </a:ext>
            </a:extLst>
          </p:cNvPr>
          <p:cNvCxnSpPr>
            <a:cxnSpLocks/>
          </p:cNvCxnSpPr>
          <p:nvPr/>
        </p:nvCxnSpPr>
        <p:spPr>
          <a:xfrm>
            <a:off x="1995754" y="3297337"/>
            <a:ext cx="9847773" cy="0"/>
          </a:xfrm>
          <a:prstGeom prst="line">
            <a:avLst/>
          </a:prstGeom>
          <a:noFill/>
          <a:ln w="12700" cap="flat" cmpd="sng" algn="ctr">
            <a:solidFill>
              <a:schemeClr val="bg1">
                <a:lumMod val="65000"/>
                <a:lumOff val="35000"/>
              </a:schemeClr>
            </a:solidFill>
            <a:prstDash val="solid"/>
            <a:headEnd type="none" w="med" len="med"/>
            <a:tailEnd type="none" w="med" len="med"/>
          </a:ln>
          <a:effectLst/>
        </p:spPr>
      </p:cxnSp>
      <p:cxnSp>
        <p:nvCxnSpPr>
          <p:cNvPr id="118" name="Straight Connector 117">
            <a:extLst>
              <a:ext uri="{FF2B5EF4-FFF2-40B4-BE49-F238E27FC236}">
                <a16:creationId xmlns:a16="http://schemas.microsoft.com/office/drawing/2014/main" id="{A5CB988C-C800-43A7-81C2-4562A76F22A8}"/>
              </a:ext>
              <a:ext uri="{C183D7F6-B498-43B3-948B-1728B52AA6E4}">
                <adec:decorative xmlns:adec="http://schemas.microsoft.com/office/drawing/2017/decorative" val="1"/>
              </a:ext>
            </a:extLst>
          </p:cNvPr>
          <p:cNvCxnSpPr>
            <a:cxnSpLocks/>
          </p:cNvCxnSpPr>
          <p:nvPr/>
        </p:nvCxnSpPr>
        <p:spPr>
          <a:xfrm>
            <a:off x="1995754" y="4998816"/>
            <a:ext cx="9847773" cy="0"/>
          </a:xfrm>
          <a:prstGeom prst="line">
            <a:avLst/>
          </a:prstGeom>
          <a:noFill/>
          <a:ln w="12700" cap="flat" cmpd="sng" algn="ctr">
            <a:solidFill>
              <a:schemeClr val="bg1">
                <a:lumMod val="65000"/>
                <a:lumOff val="35000"/>
              </a:schemeClr>
            </a:solidFill>
            <a:prstDash val="solid"/>
            <a:headEnd type="none" w="med" len="med"/>
            <a:tailEnd type="none" w="med" len="med"/>
          </a:ln>
          <a:effectLst/>
        </p:spPr>
      </p:cxnSp>
      <p:sp>
        <p:nvSpPr>
          <p:cNvPr id="119" name="Rectangle 118">
            <a:extLst>
              <a:ext uri="{FF2B5EF4-FFF2-40B4-BE49-F238E27FC236}">
                <a16:creationId xmlns:a16="http://schemas.microsoft.com/office/drawing/2014/main" id="{16102FF4-4A16-4CC4-9E01-D573EEC0EE94}"/>
              </a:ext>
            </a:extLst>
          </p:cNvPr>
          <p:cNvSpPr/>
          <p:nvPr/>
        </p:nvSpPr>
        <p:spPr bwMode="auto">
          <a:xfrm>
            <a:off x="505829" y="3882396"/>
            <a:ext cx="1511015" cy="94351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Semibold"/>
                <a:ea typeface="+mn-ea"/>
                <a:cs typeface="Segoe UI" pitchFamily="34" charset="0"/>
              </a:rPr>
              <a:t>Azure Defender</a:t>
            </a: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Semibold"/>
                <a:ea typeface="+mn-ea"/>
                <a:cs typeface="Segoe UI" pitchFamily="34" charset="0"/>
              </a:rPr>
              <a:t>for IoT</a:t>
            </a:r>
          </a:p>
        </p:txBody>
      </p:sp>
      <p:grpSp>
        <p:nvGrpSpPr>
          <p:cNvPr id="120" name="Graphic 124" descr="Security Center">
            <a:extLst>
              <a:ext uri="{FF2B5EF4-FFF2-40B4-BE49-F238E27FC236}">
                <a16:creationId xmlns:a16="http://schemas.microsoft.com/office/drawing/2014/main" id="{5F7DAE66-4906-4E77-A585-FFFF3B3D2FDB}"/>
              </a:ext>
            </a:extLst>
          </p:cNvPr>
          <p:cNvGrpSpPr/>
          <p:nvPr/>
        </p:nvGrpSpPr>
        <p:grpSpPr>
          <a:xfrm>
            <a:off x="663185" y="2808161"/>
            <a:ext cx="621869" cy="862590"/>
            <a:chOff x="622363" y="4092006"/>
            <a:chExt cx="289470" cy="401523"/>
          </a:xfrm>
        </p:grpSpPr>
        <p:sp>
          <p:nvSpPr>
            <p:cNvPr id="121" name="Freeform: Shape 5">
              <a:extLst>
                <a:ext uri="{FF2B5EF4-FFF2-40B4-BE49-F238E27FC236}">
                  <a16:creationId xmlns:a16="http://schemas.microsoft.com/office/drawing/2014/main" id="{C954D4CD-5BCA-404F-86B2-C365D19A818B}"/>
                </a:ext>
              </a:extLst>
            </p:cNvPr>
            <p:cNvSpPr/>
            <p:nvPr/>
          </p:nvSpPr>
          <p:spPr>
            <a:xfrm>
              <a:off x="622363" y="4092006"/>
              <a:ext cx="289470" cy="401523"/>
            </a:xfrm>
            <a:custGeom>
              <a:avLst/>
              <a:gdLst>
                <a:gd name="connsiteX0" fmla="*/ 253230 w 289470"/>
                <a:gd name="connsiteY0" fmla="*/ 48067 h 401523"/>
                <a:gd name="connsiteX1" fmla="*/ 148811 w 289470"/>
                <a:gd name="connsiteY1" fmla="*/ 0 h 401523"/>
                <a:gd name="connsiteX2" fmla="*/ 0 w 289470"/>
                <a:gd name="connsiteY2" fmla="*/ 50341 h 401523"/>
                <a:gd name="connsiteX3" fmla="*/ 0 w 289470"/>
                <a:gd name="connsiteY3" fmla="*/ 256892 h 401523"/>
                <a:gd name="connsiteX4" fmla="*/ 33326 w 289470"/>
                <a:gd name="connsiteY4" fmla="*/ 325703 h 401523"/>
                <a:gd name="connsiteX5" fmla="*/ 148820 w 289470"/>
                <a:gd name="connsiteY5" fmla="*/ 403255 h 401523"/>
                <a:gd name="connsiteX6" fmla="*/ 297639 w 289470"/>
                <a:gd name="connsiteY6" fmla="*/ 256885 h 401523"/>
                <a:gd name="connsiteX7" fmla="*/ 297639 w 289470"/>
                <a:gd name="connsiteY7" fmla="*/ 50341 h 401523"/>
                <a:gd name="connsiteX8" fmla="*/ 253230 w 289470"/>
                <a:gd name="connsiteY8" fmla="*/ 48067 h 401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9470" h="401523">
                  <a:moveTo>
                    <a:pt x="253230" y="48067"/>
                  </a:moveTo>
                  <a:cubicBezTo>
                    <a:pt x="163777" y="38268"/>
                    <a:pt x="148811" y="0"/>
                    <a:pt x="148811" y="0"/>
                  </a:cubicBezTo>
                  <a:cubicBezTo>
                    <a:pt x="148811" y="0"/>
                    <a:pt x="128681" y="50341"/>
                    <a:pt x="0" y="50341"/>
                  </a:cubicBezTo>
                  <a:lnTo>
                    <a:pt x="0" y="256892"/>
                  </a:lnTo>
                  <a:cubicBezTo>
                    <a:pt x="0" y="281870"/>
                    <a:pt x="13975" y="305258"/>
                    <a:pt x="33326" y="325703"/>
                  </a:cubicBezTo>
                  <a:cubicBezTo>
                    <a:pt x="77191" y="372061"/>
                    <a:pt x="148820" y="403255"/>
                    <a:pt x="148820" y="403255"/>
                  </a:cubicBezTo>
                  <a:cubicBezTo>
                    <a:pt x="148820" y="403255"/>
                    <a:pt x="297639" y="338502"/>
                    <a:pt x="297639" y="256885"/>
                  </a:cubicBezTo>
                  <a:lnTo>
                    <a:pt x="297639" y="50341"/>
                  </a:lnTo>
                  <a:cubicBezTo>
                    <a:pt x="281090" y="50341"/>
                    <a:pt x="266368" y="49511"/>
                    <a:pt x="253230" y="48067"/>
                  </a:cubicBezTo>
                  <a:close/>
                </a:path>
              </a:pathLst>
            </a:custGeom>
            <a:solidFill>
              <a:srgbClr val="50E6FF"/>
            </a:solidFill>
            <a:ln w="9331"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Arial Unicode MS" pitchFamily="34" charset="-128"/>
                <a:cs typeface="+mn-cs"/>
              </a:endParaRPr>
            </a:p>
          </p:txBody>
        </p:sp>
        <p:sp>
          <p:nvSpPr>
            <p:cNvPr id="122" name="Freeform: Shape 6">
              <a:extLst>
                <a:ext uri="{FF2B5EF4-FFF2-40B4-BE49-F238E27FC236}">
                  <a16:creationId xmlns:a16="http://schemas.microsoft.com/office/drawing/2014/main" id="{67F92AEF-8CC6-47D1-8357-4E86B89630AB}"/>
                </a:ext>
              </a:extLst>
            </p:cNvPr>
            <p:cNvSpPr/>
            <p:nvPr/>
          </p:nvSpPr>
          <p:spPr>
            <a:xfrm>
              <a:off x="622363" y="4092006"/>
              <a:ext cx="252119" cy="317484"/>
            </a:xfrm>
            <a:custGeom>
              <a:avLst/>
              <a:gdLst>
                <a:gd name="connsiteX0" fmla="*/ 185628 w 252119"/>
                <a:gd name="connsiteY0" fmla="*/ 133418 h 317483"/>
                <a:gd name="connsiteX1" fmla="*/ 253230 w 252119"/>
                <a:gd name="connsiteY1" fmla="*/ 48067 h 317483"/>
                <a:gd name="connsiteX2" fmla="*/ 148811 w 252119"/>
                <a:gd name="connsiteY2" fmla="*/ 0 h 317483"/>
                <a:gd name="connsiteX3" fmla="*/ 0 w 252119"/>
                <a:gd name="connsiteY3" fmla="*/ 50341 h 317483"/>
                <a:gd name="connsiteX4" fmla="*/ 0 w 252119"/>
                <a:gd name="connsiteY4" fmla="*/ 256892 h 317483"/>
                <a:gd name="connsiteX5" fmla="*/ 33326 w 252119"/>
                <a:gd name="connsiteY5" fmla="*/ 325703 h 317483"/>
                <a:gd name="connsiteX6" fmla="*/ 83298 w 252119"/>
                <a:gd name="connsiteY6" fmla="*/ 262619 h 317483"/>
                <a:gd name="connsiteX7" fmla="*/ 185628 w 252119"/>
                <a:gd name="connsiteY7" fmla="*/ 133418 h 31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119" h="317483">
                  <a:moveTo>
                    <a:pt x="185628" y="133418"/>
                  </a:moveTo>
                  <a:lnTo>
                    <a:pt x="253230" y="48067"/>
                  </a:lnTo>
                  <a:cubicBezTo>
                    <a:pt x="163777" y="38268"/>
                    <a:pt x="148811" y="0"/>
                    <a:pt x="148811" y="0"/>
                  </a:cubicBezTo>
                  <a:cubicBezTo>
                    <a:pt x="148811" y="0"/>
                    <a:pt x="128681" y="50341"/>
                    <a:pt x="0" y="50341"/>
                  </a:cubicBezTo>
                  <a:lnTo>
                    <a:pt x="0" y="256892"/>
                  </a:lnTo>
                  <a:cubicBezTo>
                    <a:pt x="0" y="281870"/>
                    <a:pt x="13975" y="305258"/>
                    <a:pt x="33326" y="325703"/>
                  </a:cubicBezTo>
                  <a:lnTo>
                    <a:pt x="83298" y="262619"/>
                  </a:lnTo>
                  <a:lnTo>
                    <a:pt x="185628" y="133418"/>
                  </a:lnTo>
                  <a:close/>
                </a:path>
              </a:pathLst>
            </a:custGeom>
            <a:solidFill>
              <a:srgbClr val="0078D4"/>
            </a:solidFill>
            <a:ln w="9331"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Arial Unicode MS" pitchFamily="34" charset="-128"/>
                <a:cs typeface="+mn-cs"/>
              </a:endParaRPr>
            </a:p>
          </p:txBody>
        </p:sp>
        <p:sp>
          <p:nvSpPr>
            <p:cNvPr id="124" name="Freeform: Shape 7">
              <a:extLst>
                <a:ext uri="{FF2B5EF4-FFF2-40B4-BE49-F238E27FC236}">
                  <a16:creationId xmlns:a16="http://schemas.microsoft.com/office/drawing/2014/main" id="{6C243A44-0707-441B-8B09-1C3239816868}"/>
                </a:ext>
              </a:extLst>
            </p:cNvPr>
            <p:cNvSpPr/>
            <p:nvPr/>
          </p:nvSpPr>
          <p:spPr>
            <a:xfrm>
              <a:off x="705673" y="4207961"/>
              <a:ext cx="130729" cy="168080"/>
            </a:xfrm>
            <a:custGeom>
              <a:avLst/>
              <a:gdLst>
                <a:gd name="connsiteX0" fmla="*/ 91970 w 130728"/>
                <a:gd name="connsiteY0" fmla="*/ 81319 h 168079"/>
                <a:gd name="connsiteX1" fmla="*/ 51206 w 130728"/>
                <a:gd name="connsiteY1" fmla="*/ 81319 h 168079"/>
                <a:gd name="connsiteX2" fmla="*/ 51215 w 130728"/>
                <a:gd name="connsiteY2" fmla="*/ 81311 h 168079"/>
                <a:gd name="connsiteX3" fmla="*/ 39075 w 130728"/>
                <a:gd name="connsiteY3" fmla="*/ 81311 h 168079"/>
                <a:gd name="connsiteX4" fmla="*/ 39075 w 130728"/>
                <a:gd name="connsiteY4" fmla="*/ 52664 h 168079"/>
                <a:gd name="connsiteX5" fmla="*/ 47098 w 130728"/>
                <a:gd name="connsiteY5" fmla="*/ 31937 h 168079"/>
                <a:gd name="connsiteX6" fmla="*/ 65515 w 130728"/>
                <a:gd name="connsiteY6" fmla="*/ 23767 h 168079"/>
                <a:gd name="connsiteX7" fmla="*/ 83947 w 130728"/>
                <a:gd name="connsiteY7" fmla="*/ 31937 h 168079"/>
                <a:gd name="connsiteX8" fmla="*/ 87106 w 130728"/>
                <a:gd name="connsiteY8" fmla="*/ 36002 h 168079"/>
                <a:gd name="connsiteX9" fmla="*/ 87098 w 130728"/>
                <a:gd name="connsiteY9" fmla="*/ 36010 h 168079"/>
                <a:gd name="connsiteX10" fmla="*/ 91970 w 130728"/>
                <a:gd name="connsiteY10" fmla="*/ 52657 h 168079"/>
                <a:gd name="connsiteX11" fmla="*/ 91970 w 130728"/>
                <a:gd name="connsiteY11" fmla="*/ 81319 h 168079"/>
                <a:gd name="connsiteX12" fmla="*/ 124540 w 130728"/>
                <a:gd name="connsiteY12" fmla="*/ 81311 h 168079"/>
                <a:gd name="connsiteX13" fmla="*/ 115884 w 130728"/>
                <a:gd name="connsiteY13" fmla="*/ 81311 h 168079"/>
                <a:gd name="connsiteX14" fmla="*/ 115884 w 130728"/>
                <a:gd name="connsiteY14" fmla="*/ 52664 h 168079"/>
                <a:gd name="connsiteX15" fmla="*/ 102332 w 130728"/>
                <a:gd name="connsiteY15" fmla="*/ 16775 h 168079"/>
                <a:gd name="connsiteX16" fmla="*/ 101422 w 130728"/>
                <a:gd name="connsiteY16" fmla="*/ 15702 h 168079"/>
                <a:gd name="connsiteX17" fmla="*/ 65515 w 130728"/>
                <a:gd name="connsiteY17" fmla="*/ 0 h 168079"/>
                <a:gd name="connsiteX18" fmla="*/ 29631 w 130728"/>
                <a:gd name="connsiteY18" fmla="*/ 15702 h 168079"/>
                <a:gd name="connsiteX19" fmla="*/ 15152 w 130728"/>
                <a:gd name="connsiteY19" fmla="*/ 52657 h 168079"/>
                <a:gd name="connsiteX20" fmla="*/ 15152 w 130728"/>
                <a:gd name="connsiteY20" fmla="*/ 81311 h 168079"/>
                <a:gd name="connsiteX21" fmla="*/ 6505 w 130728"/>
                <a:gd name="connsiteY21" fmla="*/ 81311 h 168079"/>
                <a:gd name="connsiteX22" fmla="*/ 0 w 130728"/>
                <a:gd name="connsiteY22" fmla="*/ 87771 h 168079"/>
                <a:gd name="connsiteX23" fmla="*/ 0 w 130728"/>
                <a:gd name="connsiteY23" fmla="*/ 145975 h 168079"/>
                <a:gd name="connsiteX24" fmla="*/ 0 w 130728"/>
                <a:gd name="connsiteY24" fmla="*/ 145984 h 168079"/>
                <a:gd name="connsiteX25" fmla="*/ 0 w 130728"/>
                <a:gd name="connsiteY25" fmla="*/ 163517 h 168079"/>
                <a:gd name="connsiteX26" fmla="*/ 6505 w 130728"/>
                <a:gd name="connsiteY26" fmla="*/ 169977 h 168079"/>
                <a:gd name="connsiteX27" fmla="*/ 124540 w 130728"/>
                <a:gd name="connsiteY27" fmla="*/ 169977 h 168079"/>
                <a:gd name="connsiteX28" fmla="*/ 131045 w 130728"/>
                <a:gd name="connsiteY28" fmla="*/ 163517 h 168079"/>
                <a:gd name="connsiteX29" fmla="*/ 131045 w 130728"/>
                <a:gd name="connsiteY29" fmla="*/ 87779 h 168079"/>
                <a:gd name="connsiteX30" fmla="*/ 124540 w 130728"/>
                <a:gd name="connsiteY30" fmla="*/ 81311 h 168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30728" h="168079">
                  <a:moveTo>
                    <a:pt x="91970" y="81319"/>
                  </a:moveTo>
                  <a:lnTo>
                    <a:pt x="51206" y="81319"/>
                  </a:lnTo>
                  <a:lnTo>
                    <a:pt x="51215" y="81311"/>
                  </a:lnTo>
                  <a:lnTo>
                    <a:pt x="39075" y="81311"/>
                  </a:lnTo>
                  <a:lnTo>
                    <a:pt x="39075" y="52664"/>
                  </a:lnTo>
                  <a:cubicBezTo>
                    <a:pt x="39075" y="44422"/>
                    <a:pt x="42209" y="37123"/>
                    <a:pt x="47098" y="31937"/>
                  </a:cubicBezTo>
                  <a:cubicBezTo>
                    <a:pt x="52010" y="26752"/>
                    <a:pt x="58425" y="23767"/>
                    <a:pt x="65515" y="23767"/>
                  </a:cubicBezTo>
                  <a:cubicBezTo>
                    <a:pt x="72611" y="23767"/>
                    <a:pt x="79035" y="26752"/>
                    <a:pt x="83947" y="31937"/>
                  </a:cubicBezTo>
                  <a:cubicBezTo>
                    <a:pt x="85109" y="33171"/>
                    <a:pt x="86148" y="34542"/>
                    <a:pt x="87106" y="36002"/>
                  </a:cubicBezTo>
                  <a:lnTo>
                    <a:pt x="87098" y="36010"/>
                  </a:lnTo>
                  <a:cubicBezTo>
                    <a:pt x="90127" y="40680"/>
                    <a:pt x="91970" y="46397"/>
                    <a:pt x="91970" y="52657"/>
                  </a:cubicBezTo>
                  <a:lnTo>
                    <a:pt x="91970" y="81319"/>
                  </a:lnTo>
                  <a:close/>
                  <a:moveTo>
                    <a:pt x="124540" y="81311"/>
                  </a:moveTo>
                  <a:lnTo>
                    <a:pt x="115884" y="81311"/>
                  </a:lnTo>
                  <a:lnTo>
                    <a:pt x="115884" y="52664"/>
                  </a:lnTo>
                  <a:cubicBezTo>
                    <a:pt x="115884" y="38882"/>
                    <a:pt x="110777" y="26244"/>
                    <a:pt x="102332" y="16775"/>
                  </a:cubicBezTo>
                  <a:cubicBezTo>
                    <a:pt x="102015" y="16428"/>
                    <a:pt x="101731" y="16050"/>
                    <a:pt x="101422" y="15702"/>
                  </a:cubicBezTo>
                  <a:cubicBezTo>
                    <a:pt x="92433" y="6138"/>
                    <a:pt x="79635" y="-8"/>
                    <a:pt x="65515" y="0"/>
                  </a:cubicBezTo>
                  <a:cubicBezTo>
                    <a:pt x="51417" y="-8"/>
                    <a:pt x="38620" y="6138"/>
                    <a:pt x="29631" y="15702"/>
                  </a:cubicBezTo>
                  <a:cubicBezTo>
                    <a:pt x="20618" y="25275"/>
                    <a:pt x="15152" y="38374"/>
                    <a:pt x="15152" y="52657"/>
                  </a:cubicBezTo>
                  <a:lnTo>
                    <a:pt x="15152" y="81311"/>
                  </a:lnTo>
                  <a:lnTo>
                    <a:pt x="6505" y="81311"/>
                  </a:lnTo>
                  <a:cubicBezTo>
                    <a:pt x="2908" y="81311"/>
                    <a:pt x="0" y="84206"/>
                    <a:pt x="0" y="87771"/>
                  </a:cubicBezTo>
                  <a:lnTo>
                    <a:pt x="0" y="145975"/>
                  </a:lnTo>
                  <a:lnTo>
                    <a:pt x="0" y="145984"/>
                  </a:lnTo>
                  <a:lnTo>
                    <a:pt x="0" y="163517"/>
                  </a:lnTo>
                  <a:cubicBezTo>
                    <a:pt x="0" y="167081"/>
                    <a:pt x="2915" y="169977"/>
                    <a:pt x="6505" y="169977"/>
                  </a:cubicBezTo>
                  <a:lnTo>
                    <a:pt x="124540" y="169977"/>
                  </a:lnTo>
                  <a:cubicBezTo>
                    <a:pt x="128130" y="169977"/>
                    <a:pt x="131045" y="167081"/>
                    <a:pt x="131045" y="163517"/>
                  </a:cubicBezTo>
                  <a:lnTo>
                    <a:pt x="131045" y="87779"/>
                  </a:lnTo>
                  <a:cubicBezTo>
                    <a:pt x="131045" y="84199"/>
                    <a:pt x="128130" y="81311"/>
                    <a:pt x="124540" y="81311"/>
                  </a:cubicBezTo>
                  <a:close/>
                </a:path>
              </a:pathLst>
            </a:custGeom>
            <a:solidFill>
              <a:srgbClr val="FFFFFF"/>
            </a:solidFill>
            <a:ln w="9331"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Arial Unicode MS" pitchFamily="34" charset="-128"/>
                <a:cs typeface="+mn-cs"/>
              </a:endParaRPr>
            </a:p>
          </p:txBody>
        </p:sp>
      </p:grpSp>
      <p:pic>
        <p:nvPicPr>
          <p:cNvPr id="125" name="Graphic 124">
            <a:extLst>
              <a:ext uri="{FF2B5EF4-FFF2-40B4-BE49-F238E27FC236}">
                <a16:creationId xmlns:a16="http://schemas.microsoft.com/office/drawing/2014/main" id="{1D7D2FB5-DFB4-4555-8191-AFB0C1CF6E7C}"/>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62674" y="1212144"/>
            <a:ext cx="449533" cy="449533"/>
          </a:xfrm>
          <a:prstGeom prst="rect">
            <a:avLst/>
          </a:prstGeom>
        </p:spPr>
      </p:pic>
      <p:pic>
        <p:nvPicPr>
          <p:cNvPr id="126" name="Graphic 125">
            <a:extLst>
              <a:ext uri="{FF2B5EF4-FFF2-40B4-BE49-F238E27FC236}">
                <a16:creationId xmlns:a16="http://schemas.microsoft.com/office/drawing/2014/main" id="{7DC96065-CEA6-4276-8D52-6624161EAC79}"/>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910937" y="1223578"/>
            <a:ext cx="241300" cy="457200"/>
          </a:xfrm>
          <a:prstGeom prst="rect">
            <a:avLst/>
          </a:prstGeom>
        </p:spPr>
      </p:pic>
      <p:pic>
        <p:nvPicPr>
          <p:cNvPr id="127" name="Graphic 126">
            <a:extLst>
              <a:ext uri="{FF2B5EF4-FFF2-40B4-BE49-F238E27FC236}">
                <a16:creationId xmlns:a16="http://schemas.microsoft.com/office/drawing/2014/main" id="{86B45BAB-BBAC-4DBB-801A-FB28E73CF1F0}"/>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082077" y="1286215"/>
            <a:ext cx="349953" cy="349953"/>
          </a:xfrm>
          <a:prstGeom prst="rect">
            <a:avLst/>
          </a:prstGeom>
        </p:spPr>
      </p:pic>
      <p:pic>
        <p:nvPicPr>
          <p:cNvPr id="128" name="Graphic 127">
            <a:extLst>
              <a:ext uri="{FF2B5EF4-FFF2-40B4-BE49-F238E27FC236}">
                <a16:creationId xmlns:a16="http://schemas.microsoft.com/office/drawing/2014/main" id="{CE973CF1-D0C5-4AE3-AE6F-9752683F3FE7}"/>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354618" y="1267503"/>
            <a:ext cx="439787" cy="439787"/>
          </a:xfrm>
          <a:prstGeom prst="rect">
            <a:avLst/>
          </a:prstGeom>
        </p:spPr>
      </p:pic>
    </p:spTree>
    <p:extLst>
      <p:ext uri="{BB962C8B-B14F-4D97-AF65-F5344CB8AC3E}">
        <p14:creationId xmlns:p14="http://schemas.microsoft.com/office/powerpoint/2010/main" val="1078192069"/>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Oval 16">
            <a:extLst>
              <a:ext uri="{FF2B5EF4-FFF2-40B4-BE49-F238E27FC236}">
                <a16:creationId xmlns:a16="http://schemas.microsoft.com/office/drawing/2014/main" id="{DAE3A085-1002-4426-9B5B-D1E4F67A29CF}"/>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5B5026B4-5301-44EB-B70C-25E2D5354FF8}"/>
              </a:ext>
            </a:extLst>
          </p:cNvPr>
          <p:cNvGrpSpPr/>
          <p:nvPr/>
        </p:nvGrpSpPr>
        <p:grpSpPr>
          <a:xfrm>
            <a:off x="4129364" y="2305592"/>
            <a:ext cx="3988337" cy="2838679"/>
            <a:chOff x="4129364" y="2305592"/>
            <a:chExt cx="3988337" cy="2838679"/>
          </a:xfrm>
        </p:grpSpPr>
        <p:cxnSp>
          <p:nvCxnSpPr>
            <p:cNvPr id="33" name="Straight Connector 32">
              <a:extLst>
                <a:ext uri="{FF2B5EF4-FFF2-40B4-BE49-F238E27FC236}">
                  <a16:creationId xmlns:a16="http://schemas.microsoft.com/office/drawing/2014/main" id="{473C0B78-DA57-4733-9E32-30B292CFFE41}"/>
                </a:ext>
              </a:extLst>
            </p:cNvPr>
            <p:cNvCxnSpPr/>
            <p:nvPr/>
          </p:nvCxnSpPr>
          <p:spPr>
            <a:xfrm>
              <a:off x="4129364" y="2305592"/>
              <a:ext cx="0" cy="2838679"/>
            </a:xfrm>
            <a:prstGeom prst="line">
              <a:avLst/>
            </a:prstGeom>
            <a:ln w="15875">
              <a:gradFill>
                <a:gsLst>
                  <a:gs pos="0">
                    <a:schemeClr val="accent5"/>
                  </a:gs>
                  <a:gs pos="100000">
                    <a:schemeClr val="tx2"/>
                  </a:gs>
                </a:gsLst>
                <a:lin ang="1800000" scaled="0"/>
              </a:gra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AEEDADE-11AC-43F3-9A79-1D9299ED0DDF}"/>
                </a:ext>
              </a:extLst>
            </p:cNvPr>
            <p:cNvCxnSpPr/>
            <p:nvPr/>
          </p:nvCxnSpPr>
          <p:spPr>
            <a:xfrm>
              <a:off x="8117701" y="2305592"/>
              <a:ext cx="0" cy="2838679"/>
            </a:xfrm>
            <a:prstGeom prst="line">
              <a:avLst/>
            </a:prstGeom>
            <a:ln w="15875">
              <a:gradFill>
                <a:gsLst>
                  <a:gs pos="0">
                    <a:schemeClr val="accent5"/>
                  </a:gs>
                  <a:gs pos="100000">
                    <a:schemeClr val="tx2"/>
                  </a:gs>
                </a:gsLst>
                <a:lin ang="1800000" scaled="0"/>
              </a:gradFill>
              <a:prstDash val="sysDash"/>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46" name="Rectangle 45">
            <a:extLst>
              <a:ext uri="{FF2B5EF4-FFF2-40B4-BE49-F238E27FC236}">
                <a16:creationId xmlns:a16="http://schemas.microsoft.com/office/drawing/2014/main" id="{8F5CA320-D427-4C7C-9779-CE66A51FCD7A}"/>
              </a:ext>
            </a:extLst>
          </p:cNvPr>
          <p:cNvSpPr/>
          <p:nvPr/>
        </p:nvSpPr>
        <p:spPr>
          <a:xfrm>
            <a:off x="455994" y="6237480"/>
            <a:ext cx="6646293" cy="246221"/>
          </a:xfrm>
          <a:prstGeom prst="rect">
            <a:avLst/>
          </a:prstGeom>
        </p:spPr>
        <p:txBody>
          <a:bodyPr wrap="square" lIns="0" tIns="0" rIns="0" bIns="0" anchor="b">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1 Placeholder Source; 2 Placeholder Source; </a:t>
            </a:r>
            <a:br>
              <a:rPr kumimoji="0" lang="en-US" sz="800" b="0" i="0" u="none" strike="noStrike" kern="1200" cap="none" spc="0" normalizeH="0" baseline="0" noProof="0">
                <a:ln>
                  <a:noFill/>
                </a:ln>
                <a:solidFill>
                  <a:srgbClr val="FFFFFF"/>
                </a:solidFill>
                <a:effectLst/>
                <a:uLnTx/>
                <a:uFillTx/>
                <a:latin typeface="Segoe UI"/>
                <a:ea typeface="+mn-ea"/>
                <a:cs typeface="+mn-cs"/>
              </a:rPr>
            </a:br>
            <a:r>
              <a:rPr kumimoji="0" lang="en-US" sz="800" b="0" i="0" u="none" strike="noStrike" kern="1200" cap="none" spc="0" normalizeH="0" baseline="0" noProof="0">
                <a:ln>
                  <a:noFill/>
                </a:ln>
                <a:solidFill>
                  <a:srgbClr val="FFFFFF"/>
                </a:solidFill>
                <a:effectLst/>
                <a:uLnTx/>
                <a:uFillTx/>
                <a:latin typeface="Segoe UI"/>
                <a:ea typeface="+mn-ea"/>
                <a:cs typeface="+mn-cs"/>
              </a:rPr>
              <a:t>3 </a:t>
            </a:r>
            <a:r>
              <a:rPr kumimoji="0" lang="en-US" sz="800" b="0" i="0" u="none" strike="noStrike" kern="1200" cap="none" spc="0" normalizeH="0" baseline="0" noProof="0">
                <a:ln>
                  <a:noFill/>
                </a:ln>
                <a:solidFill>
                  <a:srgbClr val="FFFFFF"/>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Gartner: Market Guide for Digital Twin Portfolios and Enabling Technologies (Jan 2020)</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286444E1-3427-40E7-8FD6-846EFE97DE64}"/>
              </a:ext>
            </a:extLst>
          </p:cNvPr>
          <p:cNvGrpSpPr/>
          <p:nvPr/>
        </p:nvGrpSpPr>
        <p:grpSpPr>
          <a:xfrm>
            <a:off x="601802" y="2159314"/>
            <a:ext cx="3340312" cy="2551995"/>
            <a:chOff x="601802" y="1625922"/>
            <a:chExt cx="3340312" cy="2551995"/>
          </a:xfrm>
        </p:grpSpPr>
        <p:sp>
          <p:nvSpPr>
            <p:cNvPr id="106" name="Rectangle: Rounded Corners 105">
              <a:extLst>
                <a:ext uri="{FF2B5EF4-FFF2-40B4-BE49-F238E27FC236}">
                  <a16:creationId xmlns:a16="http://schemas.microsoft.com/office/drawing/2014/main" id="{4D5AD9A3-F226-4222-977E-800DC7D73A05}"/>
                </a:ext>
              </a:extLst>
            </p:cNvPr>
            <p:cNvSpPr/>
            <p:nvPr/>
          </p:nvSpPr>
          <p:spPr bwMode="auto">
            <a:xfrm>
              <a:off x="1259451" y="2214783"/>
              <a:ext cx="2025015" cy="438895"/>
            </a:xfrm>
            <a:prstGeom prst="roundRect">
              <a:avLst>
                <a:gd name="adj" fmla="val 50000"/>
              </a:avLst>
            </a:prstGeom>
            <a:noFill/>
            <a:ln w="28575" cap="flat" cmpd="sng" algn="ctr">
              <a:noFill/>
              <a:prstDash val="solid"/>
              <a:headEnd type="none"/>
              <a:tailEnd type="none"/>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Azure IoT Central</a:t>
              </a:r>
            </a:p>
          </p:txBody>
        </p:sp>
        <p:sp>
          <p:nvSpPr>
            <p:cNvPr id="9" name="Rectangle 8">
              <a:extLst>
                <a:ext uri="{FF2B5EF4-FFF2-40B4-BE49-F238E27FC236}">
                  <a16:creationId xmlns:a16="http://schemas.microsoft.com/office/drawing/2014/main" id="{78E7B347-6CBE-4DB3-A803-3C71BD315A04}"/>
                </a:ext>
              </a:extLst>
            </p:cNvPr>
            <p:cNvSpPr/>
            <p:nvPr/>
          </p:nvSpPr>
          <p:spPr>
            <a:xfrm>
              <a:off x="601802" y="2617653"/>
              <a:ext cx="3340312" cy="738664"/>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The easiest and most cost-effective way to connect and manage devices at scale, and time to results. </a:t>
              </a:r>
            </a:p>
          </p:txBody>
        </p:sp>
        <p:sp>
          <p:nvSpPr>
            <p:cNvPr id="47" name="Rectangle 46">
              <a:extLst>
                <a:ext uri="{FF2B5EF4-FFF2-40B4-BE49-F238E27FC236}">
                  <a16:creationId xmlns:a16="http://schemas.microsoft.com/office/drawing/2014/main" id="{4FBD8868-A632-4067-AF48-307A785F864A}"/>
                </a:ext>
              </a:extLst>
            </p:cNvPr>
            <p:cNvSpPr/>
            <p:nvPr/>
          </p:nvSpPr>
          <p:spPr>
            <a:xfrm>
              <a:off x="601802" y="3593142"/>
              <a:ext cx="3340312" cy="584775"/>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1000+ </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zure IoT Devices certified</a:t>
              </a:r>
              <a:r>
                <a:rPr kumimoji="0" lang="en-US" sz="1400" b="0" i="0" u="none" strike="noStrike" kern="1200" cap="none" spc="0" normalizeH="0" baseline="30000" noProof="0">
                  <a:ln>
                    <a:noFill/>
                  </a:ln>
                  <a:solidFill>
                    <a:srgbClr val="FFFFFF"/>
                  </a:solidFill>
                  <a:effectLst/>
                  <a:uLnTx/>
                  <a:uFillTx/>
                  <a:latin typeface="Segoe UI"/>
                  <a:ea typeface="+mn-ea"/>
                  <a:cs typeface="+mn-cs"/>
                </a:rPr>
                <a:t>1</a:t>
              </a:r>
            </a:p>
          </p:txBody>
        </p:sp>
        <p:pic>
          <p:nvPicPr>
            <p:cNvPr id="3" name="Graphic 2">
              <a:extLst>
                <a:ext uri="{FF2B5EF4-FFF2-40B4-BE49-F238E27FC236}">
                  <a16:creationId xmlns:a16="http://schemas.microsoft.com/office/drawing/2014/main" id="{A8523302-11E4-4107-B7E2-815378D75F6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96164" y="1625922"/>
              <a:ext cx="551589" cy="551589"/>
            </a:xfrm>
            <a:prstGeom prst="rect">
              <a:avLst/>
            </a:prstGeom>
          </p:spPr>
        </p:pic>
      </p:grpSp>
      <p:grpSp>
        <p:nvGrpSpPr>
          <p:cNvPr id="10" name="Group 9">
            <a:extLst>
              <a:ext uri="{FF2B5EF4-FFF2-40B4-BE49-F238E27FC236}">
                <a16:creationId xmlns:a16="http://schemas.microsoft.com/office/drawing/2014/main" id="{69055988-44CA-450D-8E34-800471FE89BF}"/>
              </a:ext>
            </a:extLst>
          </p:cNvPr>
          <p:cNvGrpSpPr/>
          <p:nvPr/>
        </p:nvGrpSpPr>
        <p:grpSpPr>
          <a:xfrm>
            <a:off x="4278644" y="2159314"/>
            <a:ext cx="3744840" cy="2551995"/>
            <a:chOff x="4278644" y="1625922"/>
            <a:chExt cx="3744840" cy="2551995"/>
          </a:xfrm>
        </p:grpSpPr>
        <p:sp>
          <p:nvSpPr>
            <p:cNvPr id="107" name="Rectangle: Rounded Corners 106">
              <a:extLst>
                <a:ext uri="{FF2B5EF4-FFF2-40B4-BE49-F238E27FC236}">
                  <a16:creationId xmlns:a16="http://schemas.microsoft.com/office/drawing/2014/main" id="{68FC8914-922F-4F09-A9F8-230258D9BA74}"/>
                </a:ext>
              </a:extLst>
            </p:cNvPr>
            <p:cNvSpPr/>
            <p:nvPr/>
          </p:nvSpPr>
          <p:spPr bwMode="auto">
            <a:xfrm>
              <a:off x="5199837" y="2214783"/>
              <a:ext cx="1902455" cy="438895"/>
            </a:xfrm>
            <a:prstGeom prst="roundRect">
              <a:avLst>
                <a:gd name="adj" fmla="val 50000"/>
              </a:avLst>
            </a:prstGeom>
            <a:noFill/>
            <a:ln w="28575" cap="flat" cmpd="sng" algn="ctr">
              <a:noFill/>
              <a:prstDash val="solid"/>
              <a:headEnd type="none"/>
              <a:tailEnd type="none"/>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Azure IoT Hub</a:t>
              </a:r>
            </a:p>
          </p:txBody>
        </p:sp>
        <p:sp>
          <p:nvSpPr>
            <p:cNvPr id="43" name="Rectangle 42">
              <a:extLst>
                <a:ext uri="{FF2B5EF4-FFF2-40B4-BE49-F238E27FC236}">
                  <a16:creationId xmlns:a16="http://schemas.microsoft.com/office/drawing/2014/main" id="{40D0CAB4-9491-4F2B-8730-17348EAF3540}"/>
                </a:ext>
              </a:extLst>
            </p:cNvPr>
            <p:cNvSpPr/>
            <p:nvPr/>
          </p:nvSpPr>
          <p:spPr>
            <a:xfrm>
              <a:off x="4278644" y="2617653"/>
              <a:ext cx="3744840" cy="738664"/>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nable highly secure, flexible and reliable communication from the </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cloud to the edge. </a:t>
              </a:r>
            </a:p>
          </p:txBody>
        </p:sp>
        <p:sp>
          <p:nvSpPr>
            <p:cNvPr id="48" name="Rectangle 47">
              <a:extLst>
                <a:ext uri="{FF2B5EF4-FFF2-40B4-BE49-F238E27FC236}">
                  <a16:creationId xmlns:a16="http://schemas.microsoft.com/office/drawing/2014/main" id="{EB6B8BEB-6E34-4905-973D-E701ABC0BD99}"/>
                </a:ext>
              </a:extLst>
            </p:cNvPr>
            <p:cNvSpPr/>
            <p:nvPr/>
          </p:nvSpPr>
          <p:spPr>
            <a:xfrm>
              <a:off x="4411682" y="3593142"/>
              <a:ext cx="3340312" cy="584775"/>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150 billion messages</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per month via IoT Hub</a:t>
              </a:r>
              <a:r>
                <a:rPr kumimoji="0" lang="en-US" sz="1400" b="0" i="0" u="none" strike="noStrike" kern="1200" cap="none" spc="0" normalizeH="0" baseline="30000" noProof="0">
                  <a:ln>
                    <a:noFill/>
                  </a:ln>
                  <a:solidFill>
                    <a:srgbClr val="FFFFFF"/>
                  </a:solidFill>
                  <a:effectLst/>
                  <a:uLnTx/>
                  <a:uFillTx/>
                  <a:latin typeface="Segoe UI"/>
                  <a:ea typeface="+mn-ea"/>
                  <a:cs typeface="+mn-cs"/>
                </a:rPr>
                <a:t>2</a:t>
              </a:r>
            </a:p>
          </p:txBody>
        </p:sp>
        <p:pic>
          <p:nvPicPr>
            <p:cNvPr id="5" name="Graphic 4">
              <a:extLst>
                <a:ext uri="{FF2B5EF4-FFF2-40B4-BE49-F238E27FC236}">
                  <a16:creationId xmlns:a16="http://schemas.microsoft.com/office/drawing/2014/main" id="{5A23B50E-0584-4EB2-88A3-ED40F6EC00E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75269" y="1625922"/>
              <a:ext cx="551589" cy="551589"/>
            </a:xfrm>
            <a:prstGeom prst="rect">
              <a:avLst/>
            </a:prstGeom>
          </p:spPr>
        </p:pic>
      </p:grpSp>
      <p:sp>
        <p:nvSpPr>
          <p:cNvPr id="2" name="Title 1">
            <a:extLst>
              <a:ext uri="{FF2B5EF4-FFF2-40B4-BE49-F238E27FC236}">
                <a16:creationId xmlns:a16="http://schemas.microsoft.com/office/drawing/2014/main" id="{8E45D4AA-5F5D-466F-902B-154944817361}"/>
              </a:ext>
            </a:extLst>
          </p:cNvPr>
          <p:cNvSpPr>
            <a:spLocks noGrp="1"/>
          </p:cNvSpPr>
          <p:nvPr>
            <p:ph type="title"/>
          </p:nvPr>
        </p:nvSpPr>
        <p:spPr>
          <a:xfrm>
            <a:off x="455995" y="620428"/>
            <a:ext cx="11306469" cy="397545"/>
          </a:xfrm>
        </p:spPr>
        <p:txBody>
          <a:bodyPr/>
          <a:lstStyle/>
          <a:p>
            <a:r>
              <a:rPr lang="en-US" sz="2800" dirty="0">
                <a:solidFill>
                  <a:schemeClr val="bg2"/>
                </a:solidFill>
              </a:rPr>
              <a:t>Develop with choice</a:t>
            </a:r>
          </a:p>
        </p:txBody>
      </p:sp>
      <p:grpSp>
        <p:nvGrpSpPr>
          <p:cNvPr id="15" name="Group 14">
            <a:extLst>
              <a:ext uri="{FF2B5EF4-FFF2-40B4-BE49-F238E27FC236}">
                <a16:creationId xmlns:a16="http://schemas.microsoft.com/office/drawing/2014/main" id="{F861CA85-5A85-46F9-9287-E776BE2BE296}"/>
              </a:ext>
            </a:extLst>
          </p:cNvPr>
          <p:cNvGrpSpPr/>
          <p:nvPr/>
        </p:nvGrpSpPr>
        <p:grpSpPr>
          <a:xfrm>
            <a:off x="8117701" y="2111181"/>
            <a:ext cx="3610521" cy="2877127"/>
            <a:chOff x="8117701" y="2111181"/>
            <a:chExt cx="3610521" cy="2877127"/>
          </a:xfrm>
        </p:grpSpPr>
        <p:sp>
          <p:nvSpPr>
            <p:cNvPr id="108" name="Rectangle: Rounded Corners 107">
              <a:extLst>
                <a:ext uri="{FF2B5EF4-FFF2-40B4-BE49-F238E27FC236}">
                  <a16:creationId xmlns:a16="http://schemas.microsoft.com/office/drawing/2014/main" id="{F9587B98-1C7F-4E37-B9B7-79F5A3679443}"/>
                </a:ext>
              </a:extLst>
            </p:cNvPr>
            <p:cNvSpPr/>
            <p:nvPr/>
          </p:nvSpPr>
          <p:spPr bwMode="auto">
            <a:xfrm>
              <a:off x="9121809" y="2592370"/>
              <a:ext cx="1524642" cy="750505"/>
            </a:xfrm>
            <a:prstGeom prst="roundRect">
              <a:avLst>
                <a:gd name="adj" fmla="val 50000"/>
              </a:avLst>
            </a:prstGeom>
            <a:noFill/>
            <a:ln w="28575" cap="flat" cmpd="sng" algn="ctr">
              <a:noFill/>
              <a:prstDash val="solid"/>
              <a:headEnd type="none"/>
              <a:tailEnd type="none"/>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Digital Twins</a:t>
              </a:r>
            </a:p>
          </p:txBody>
        </p:sp>
        <p:sp>
          <p:nvSpPr>
            <p:cNvPr id="44" name="Rectangle 43">
              <a:extLst>
                <a:ext uri="{FF2B5EF4-FFF2-40B4-BE49-F238E27FC236}">
                  <a16:creationId xmlns:a16="http://schemas.microsoft.com/office/drawing/2014/main" id="{03D32946-4D5E-46A8-B3F0-5D9367580F48}"/>
                </a:ext>
              </a:extLst>
            </p:cNvPr>
            <p:cNvSpPr/>
            <p:nvPr/>
          </p:nvSpPr>
          <p:spPr>
            <a:xfrm>
              <a:off x="8241507" y="3151045"/>
              <a:ext cx="3285249" cy="523220"/>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reate comprehensive digital </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models of entire environments.</a:t>
              </a:r>
              <a:r>
                <a:rPr kumimoji="0" lang="en-US" sz="1400" b="0" i="0" u="none" strike="noStrike" kern="1200" cap="none" spc="0" normalizeH="0" baseline="30000" noProof="0">
                  <a:ln>
                    <a:noFill/>
                  </a:ln>
                  <a:solidFill>
                    <a:srgbClr val="FFFFFF"/>
                  </a:solidFill>
                  <a:effectLst/>
                  <a:uLnTx/>
                  <a:uFillTx/>
                  <a:latin typeface="Segoe UI"/>
                  <a:ea typeface="+mn-ea"/>
                  <a:cs typeface="+mn-cs"/>
                </a:rPr>
                <a:t>3</a:t>
              </a:r>
              <a:r>
                <a:rPr kumimoji="0" lang="en-US" sz="1400" b="0" i="0" u="none" strike="noStrike" kern="1200" cap="none" spc="0" normalizeH="0" baseline="0" noProof="0">
                  <a:ln>
                    <a:noFill/>
                  </a:ln>
                  <a:solidFill>
                    <a:srgbClr val="FFFFFF"/>
                  </a:solidFill>
                  <a:effectLst/>
                  <a:uLnTx/>
                  <a:uFillTx/>
                  <a:latin typeface="Segoe UI"/>
                  <a:ea typeface="+mn-ea"/>
                  <a:cs typeface="+mn-cs"/>
                </a:rPr>
                <a:t> </a:t>
              </a:r>
            </a:p>
          </p:txBody>
        </p:sp>
        <p:sp>
          <p:nvSpPr>
            <p:cNvPr id="49" name="Rectangle 48">
              <a:extLst>
                <a:ext uri="{FF2B5EF4-FFF2-40B4-BE49-F238E27FC236}">
                  <a16:creationId xmlns:a16="http://schemas.microsoft.com/office/drawing/2014/main" id="{D8494E7F-813C-4FD4-B695-3EBFAF72E1A3}"/>
                </a:ext>
              </a:extLst>
            </p:cNvPr>
            <p:cNvSpPr/>
            <p:nvPr/>
          </p:nvSpPr>
          <p:spPr>
            <a:xfrm>
              <a:off x="8117701" y="4126534"/>
              <a:ext cx="3610521" cy="861774"/>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Gartner includes Microsoft as a </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800" b="0" i="0" u="none" strike="noStrike" kern="1200" cap="none" spc="0" normalizeH="0" baseline="0" noProof="0">
                  <a:ln>
                    <a:noFill/>
                  </a:ln>
                  <a:solidFill>
                    <a:srgbClr val="50E6FF"/>
                  </a:solidFill>
                  <a:effectLst/>
                  <a:uLnTx/>
                  <a:uFillTx/>
                  <a:latin typeface="Segoe UI Semibold"/>
                  <a:ea typeface="+mn-ea"/>
                  <a:cs typeface="+mn-cs"/>
                </a:rPr>
                <a:t>Digital-Twin-Enabled Application Provider</a:t>
              </a:r>
              <a:r>
                <a:rPr kumimoji="0" lang="en-US" sz="1400" b="0" i="0" u="none" strike="noStrike" kern="1200" cap="none" spc="0" normalizeH="0" baseline="30000" noProof="0">
                  <a:ln>
                    <a:noFill/>
                  </a:ln>
                  <a:solidFill>
                    <a:srgbClr val="FFFFFF"/>
                  </a:solidFill>
                  <a:effectLst/>
                  <a:uLnTx/>
                  <a:uFillTx/>
                  <a:latin typeface="Segoe UI"/>
                  <a:ea typeface="+mn-ea"/>
                  <a:cs typeface="+mn-cs"/>
                </a:rPr>
                <a:t>3</a:t>
              </a:r>
            </a:p>
          </p:txBody>
        </p:sp>
        <p:pic>
          <p:nvPicPr>
            <p:cNvPr id="387074" name="Picture 2" descr="azure-digital-twins - Microsoft Q&amp;A">
              <a:extLst>
                <a:ext uri="{FF2B5EF4-FFF2-40B4-BE49-F238E27FC236}">
                  <a16:creationId xmlns:a16="http://schemas.microsoft.com/office/drawing/2014/main" id="{6784C5AA-7566-43A7-8BEB-3988EFAAE86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554287" y="2111181"/>
              <a:ext cx="659686" cy="65968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6231920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42" presetClass="path" presetSubtype="0" decel="100000" fill="hold" nodeType="withEffect">
                                  <p:stCondLst>
                                    <p:cond delay="0"/>
                                  </p:stCondLst>
                                  <p:childTnLst>
                                    <p:animMotion origin="layout" path="M 0 4.44444E-6 L 0 0.01898 " pathEditMode="relative" rAng="0" ptsTypes="AA">
                                      <p:cBhvr>
                                        <p:cTn id="12" dur="700" spd="-100000" fill="hold"/>
                                        <p:tgtEl>
                                          <p:spTgt spid="8"/>
                                        </p:tgtEl>
                                        <p:attrNameLst>
                                          <p:attrName>ppt_x</p:attrName>
                                          <p:attrName>ppt_y</p:attrName>
                                        </p:attrNameLst>
                                      </p:cBhvr>
                                      <p:rCtr x="0" y="949"/>
                                    </p:animMotion>
                                  </p:childTnLst>
                                </p:cTn>
                              </p:par>
                              <p:par>
                                <p:cTn id="13" presetID="10" presetClass="entr" presetSubtype="0" fill="hold" nodeType="withEffect">
                                  <p:stCondLst>
                                    <p:cond delay="25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42" presetClass="path" presetSubtype="0" decel="100000" fill="hold" nodeType="withEffect">
                                  <p:stCondLst>
                                    <p:cond delay="250"/>
                                  </p:stCondLst>
                                  <p:childTnLst>
                                    <p:animMotion origin="layout" path="M 0 4.44444E-6 L 0 0.01898 " pathEditMode="relative" rAng="0" ptsTypes="AA">
                                      <p:cBhvr>
                                        <p:cTn id="17" dur="700" spd="-100000" fill="hold"/>
                                        <p:tgtEl>
                                          <p:spTgt spid="10"/>
                                        </p:tgtEl>
                                        <p:attrNameLst>
                                          <p:attrName>ppt_x</p:attrName>
                                          <p:attrName>ppt_y</p:attrName>
                                        </p:attrNameLst>
                                      </p:cBhvr>
                                      <p:rCtr x="0" y="949"/>
                                    </p:animMotion>
                                  </p:childTnLst>
                                </p:cTn>
                              </p:par>
                              <p:par>
                                <p:cTn id="18" presetID="10" presetClass="entr" presetSubtype="0" fill="hold" nodeType="withEffect">
                                  <p:stCondLst>
                                    <p:cond delay="50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par>
                                <p:cTn id="21" presetID="42" presetClass="path" presetSubtype="0" decel="100000" fill="hold" nodeType="withEffect">
                                  <p:stCondLst>
                                    <p:cond delay="500"/>
                                  </p:stCondLst>
                                  <p:childTnLst>
                                    <p:animMotion origin="layout" path="M 0 4.44444E-6 L 0 0.01898 " pathEditMode="relative" rAng="0" ptsTypes="AA">
                                      <p:cBhvr>
                                        <p:cTn id="22" dur="700" spd="-100000" fill="hold"/>
                                        <p:tgtEl>
                                          <p:spTgt spid="15"/>
                                        </p:tgtEl>
                                        <p:attrNameLst>
                                          <p:attrName>ppt_x</p:attrName>
                                          <p:attrName>ppt_y</p:attrName>
                                        </p:attrNameLst>
                                      </p:cBhvr>
                                      <p:rCtr x="0" y="949"/>
                                    </p:animMotion>
                                  </p:childTnLst>
                                </p:cTn>
                              </p:par>
                            </p:childTnLst>
                          </p:cTn>
                        </p:par>
                      </p:childTnLst>
                    </p:cTn>
                  </p:par>
                  <p:par>
                    <p:cTn id="23" fill="hold">
                      <p:stCondLst>
                        <p:cond delay="indefinite"/>
                      </p:stCondLst>
                      <p:childTnLst>
                        <p:par>
                          <p:cTn id="24" fill="hold">
                            <p:stCondLst>
                              <p:cond delay="0"/>
                            </p:stCondLst>
                            <p:childTnLst>
                              <p:par>
                                <p:cTn id="25" presetID="9" presetClass="emph" presetSubtype="0" nodeType="clickEffect">
                                  <p:stCondLst>
                                    <p:cond delay="0"/>
                                  </p:stCondLst>
                                  <p:childTnLst>
                                    <p:set>
                                      <p:cBhvr>
                                        <p:cTn id="26" dur="indefinite"/>
                                        <p:tgtEl>
                                          <p:spTgt spid="8"/>
                                        </p:tgtEl>
                                        <p:attrNameLst>
                                          <p:attrName>style.opacity</p:attrName>
                                        </p:attrNameLst>
                                      </p:cBhvr>
                                      <p:to>
                                        <p:strVal val="0.5"/>
                                      </p:to>
                                    </p:set>
                                    <p:animEffect filter="image" prLst="opacity: 0.5">
                                      <p:cBhvr rctx="IE">
                                        <p:cTn id="27" dur="indefinite"/>
                                        <p:tgtEl>
                                          <p:spTgt spid="8"/>
                                        </p:tgtEl>
                                      </p:cBhvr>
                                    </p:animEffect>
                                  </p:childTnLst>
                                </p:cTn>
                              </p:par>
                              <p:par>
                                <p:cTn id="28" presetID="9" presetClass="emph" presetSubtype="0" nodeType="withEffect">
                                  <p:stCondLst>
                                    <p:cond delay="0"/>
                                  </p:stCondLst>
                                  <p:childTnLst>
                                    <p:set>
                                      <p:cBhvr>
                                        <p:cTn id="29" dur="indefinite"/>
                                        <p:tgtEl>
                                          <p:spTgt spid="15"/>
                                        </p:tgtEl>
                                        <p:attrNameLst>
                                          <p:attrName>style.opacity</p:attrName>
                                        </p:attrNameLst>
                                      </p:cBhvr>
                                      <p:to>
                                        <p:strVal val="0.5"/>
                                      </p:to>
                                    </p:set>
                                    <p:animEffect filter="image" prLst="opacity: 0.5">
                                      <p:cBhvr rctx="IE">
                                        <p:cTn id="30" dur="indefinite"/>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Oval 16">
            <a:extLst>
              <a:ext uri="{FF2B5EF4-FFF2-40B4-BE49-F238E27FC236}">
                <a16:creationId xmlns:a16="http://schemas.microsoft.com/office/drawing/2014/main" id="{DAE3A085-1002-4426-9B5B-D1E4F67A29CF}"/>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ectangle 81">
            <a:extLst>
              <a:ext uri="{FF2B5EF4-FFF2-40B4-BE49-F238E27FC236}">
                <a16:creationId xmlns:a16="http://schemas.microsoft.com/office/drawing/2014/main" id="{A39775FF-3CCB-48F6-9BAB-99B18AB869C0}"/>
              </a:ext>
            </a:extLst>
          </p:cNvPr>
          <p:cNvSpPr/>
          <p:nvPr/>
        </p:nvSpPr>
        <p:spPr>
          <a:xfrm>
            <a:off x="517830" y="2104437"/>
            <a:ext cx="7824544" cy="4393633"/>
          </a:xfrm>
          <a:prstGeom prst="rect">
            <a:avLst/>
          </a:prstGeom>
          <a:solidFill>
            <a:schemeClr val="tx2">
              <a:lumMod val="7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schemeClr val="bg1"/>
              </a:solidFill>
              <a:latin typeface="Segoe UI"/>
            </a:endParaRPr>
          </a:p>
        </p:txBody>
      </p:sp>
      <p:sp>
        <p:nvSpPr>
          <p:cNvPr id="83" name="Rectangle 82">
            <a:extLst>
              <a:ext uri="{FF2B5EF4-FFF2-40B4-BE49-F238E27FC236}">
                <a16:creationId xmlns:a16="http://schemas.microsoft.com/office/drawing/2014/main" id="{5B9D2D80-910E-4E15-9894-32FB0D97CFF4}"/>
              </a:ext>
            </a:extLst>
          </p:cNvPr>
          <p:cNvSpPr/>
          <p:nvPr/>
        </p:nvSpPr>
        <p:spPr>
          <a:xfrm>
            <a:off x="8878429" y="2104437"/>
            <a:ext cx="2772342" cy="4393633"/>
          </a:xfrm>
          <a:prstGeom prst="rect">
            <a:avLst/>
          </a:prstGeom>
          <a:solidFill>
            <a:schemeClr val="tx2">
              <a:lumMod val="7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schemeClr val="bg1"/>
              </a:solidFill>
              <a:latin typeface="Segoe UI"/>
            </a:endParaRPr>
          </a:p>
        </p:txBody>
      </p:sp>
      <p:sp>
        <p:nvSpPr>
          <p:cNvPr id="84" name="Text Placeholder 7">
            <a:extLst>
              <a:ext uri="{FF2B5EF4-FFF2-40B4-BE49-F238E27FC236}">
                <a16:creationId xmlns:a16="http://schemas.microsoft.com/office/drawing/2014/main" id="{AA985A5E-CB27-4B92-8670-594E539F9340}"/>
              </a:ext>
            </a:extLst>
          </p:cNvPr>
          <p:cNvSpPr txBox="1">
            <a:spLocks/>
          </p:cNvSpPr>
          <p:nvPr/>
        </p:nvSpPr>
        <p:spPr>
          <a:xfrm>
            <a:off x="3171914" y="3023742"/>
            <a:ext cx="1982895" cy="477727"/>
          </a:xfrm>
          <a:prstGeom prst="rect">
            <a:avLst/>
          </a:prstGeom>
        </p:spPr>
        <p:txBody>
          <a:bodyPr/>
          <a:lstStyle>
            <a:lvl1pPr marL="0" indent="0" algn="l" defTabSz="271902"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1pPr>
            <a:lvl2pPr marL="10709" indent="0" algn="l" defTabSz="271902"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339878" indent="-67976" algn="l" defTabSz="271902"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475830" indent="-67976" algn="l" defTabSz="271902"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611780" indent="-67976" algn="l" defTabSz="271902"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747732"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6pPr>
            <a:lvl7pPr marL="883683"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7pPr>
            <a:lvl8pPr marL="1019634"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8pPr>
            <a:lvl9pPr marL="1155585"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9pPr>
          </a:lstStyle>
          <a:p>
            <a:pPr algn="ctr" defTabSz="271850">
              <a:defRPr/>
            </a:pPr>
            <a:r>
              <a:rPr lang="en-US" sz="1800">
                <a:solidFill>
                  <a:schemeClr val="bg1"/>
                </a:solidFill>
                <a:latin typeface="Segoe UI Semilight" panose="020B0402040204020203" pitchFamily="34" charset="0"/>
                <a:cs typeface="Segoe UI Semilight" panose="020B0402040204020203" pitchFamily="34" charset="0"/>
              </a:rPr>
              <a:t>Enterprise scale </a:t>
            </a:r>
            <a:br>
              <a:rPr lang="en-US" sz="1800">
                <a:solidFill>
                  <a:schemeClr val="bg1"/>
                </a:solidFill>
                <a:latin typeface="Segoe UI Semilight" panose="020B0402040204020203" pitchFamily="34" charset="0"/>
                <a:cs typeface="Segoe UI Semilight" panose="020B0402040204020203" pitchFamily="34" charset="0"/>
              </a:rPr>
            </a:br>
            <a:r>
              <a:rPr lang="en-US" sz="1800">
                <a:solidFill>
                  <a:schemeClr val="bg1"/>
                </a:solidFill>
                <a:latin typeface="Segoe UI Semilight" panose="020B0402040204020203" pitchFamily="34" charset="0"/>
                <a:cs typeface="Segoe UI Semilight" panose="020B0402040204020203" pitchFamily="34" charset="0"/>
              </a:rPr>
              <a:t>&amp; integration</a:t>
            </a:r>
          </a:p>
          <a:p>
            <a:pPr marL="10707" lvl="1" algn="ctr" defTabSz="271850">
              <a:defRPr/>
            </a:pPr>
            <a:endParaRPr lang="en-US" sz="1400">
              <a:solidFill>
                <a:schemeClr val="bg1"/>
              </a:solidFill>
              <a:latin typeface="Segoe UI Semibold" panose="020B0702040204020203" pitchFamily="34" charset="0"/>
              <a:cs typeface="Segoe UI Semibold" panose="020B0702040204020203" pitchFamily="34" charset="0"/>
            </a:endParaRPr>
          </a:p>
        </p:txBody>
      </p:sp>
      <p:sp>
        <p:nvSpPr>
          <p:cNvPr id="85" name="Text Placeholder 7">
            <a:extLst>
              <a:ext uri="{FF2B5EF4-FFF2-40B4-BE49-F238E27FC236}">
                <a16:creationId xmlns:a16="http://schemas.microsoft.com/office/drawing/2014/main" id="{923F50D3-86B5-44FD-B253-389CC2BBC08B}"/>
              </a:ext>
            </a:extLst>
          </p:cNvPr>
          <p:cNvSpPr txBox="1">
            <a:spLocks/>
          </p:cNvSpPr>
          <p:nvPr/>
        </p:nvSpPr>
        <p:spPr>
          <a:xfrm>
            <a:off x="2842714" y="3898572"/>
            <a:ext cx="2641294" cy="2343106"/>
          </a:xfrm>
          <a:prstGeom prst="rect">
            <a:avLst/>
          </a:prstGeom>
        </p:spPr>
        <p:txBody>
          <a:bodyPr vert="horz" wrap="square" lIns="146264" tIns="91415" rIns="146264" bIns="91415" rtlCol="0">
            <a:spAutoFit/>
          </a:bodyPr>
          <a:lstStyle>
            <a:lvl1pPr marL="0" marR="0" indent="0" algn="l" defTabSz="932742" rtl="0" eaLnBrk="1" fontAlgn="auto" latinLnBrk="0" hangingPunct="1">
              <a:lnSpc>
                <a:spcPct val="90000"/>
              </a:lnSpc>
              <a:spcBef>
                <a:spcPts val="1800"/>
              </a:spcBef>
              <a:spcAft>
                <a:spcPts val="0"/>
              </a:spcAft>
              <a:buClrTx/>
              <a:buSzPct val="90000"/>
              <a:buFont typeface="Wingdings" panose="05000000000000000000" pitchFamily="2" charset="2"/>
              <a:buNone/>
              <a:tabLst/>
              <a:defRPr sz="2000" kern="1200" spc="0" baseline="0">
                <a:solidFill>
                  <a:schemeClr val="tx2"/>
                </a:solidFill>
                <a:latin typeface="+mn-lt"/>
                <a:ea typeface="+mn-ea"/>
                <a:cs typeface="+mn-cs"/>
              </a:defRPr>
            </a:lvl1pPr>
            <a:lvl2pPr marL="0" marR="0" indent="0" algn="l" defTabSz="932742" rtl="0" eaLnBrk="1" fontAlgn="auto" latinLnBrk="0" hangingPunct="1">
              <a:lnSpc>
                <a:spcPct val="9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defTabSz="932563">
              <a:defRPr/>
            </a:pPr>
            <a:r>
              <a:rPr lang="en-US" sz="1200">
                <a:solidFill>
                  <a:schemeClr val="bg1"/>
                </a:solidFill>
                <a:latin typeface="Segoe UI"/>
              </a:rPr>
              <a:t>Billions of messages</a:t>
            </a:r>
          </a:p>
          <a:p>
            <a:pPr lvl="1" algn="ctr" defTabSz="932563">
              <a:defRPr/>
            </a:pPr>
            <a:r>
              <a:rPr lang="en-US" sz="1200">
                <a:solidFill>
                  <a:schemeClr val="bg1"/>
                </a:solidFill>
                <a:latin typeface="Segoe UI"/>
              </a:rPr>
              <a:t>Scale up and down</a:t>
            </a:r>
          </a:p>
          <a:p>
            <a:pPr lvl="1" algn="ctr" defTabSz="932563">
              <a:defRPr/>
            </a:pPr>
            <a:r>
              <a:rPr lang="en-US" sz="1200">
                <a:solidFill>
                  <a:schemeClr val="bg1"/>
                </a:solidFill>
                <a:latin typeface="Segoe UI"/>
              </a:rPr>
              <a:t>Declarative Message Routes</a:t>
            </a:r>
          </a:p>
          <a:p>
            <a:pPr lvl="1" algn="ctr" defTabSz="932563">
              <a:defRPr/>
            </a:pPr>
            <a:r>
              <a:rPr lang="en-US" sz="1200">
                <a:solidFill>
                  <a:schemeClr val="bg1"/>
                </a:solidFill>
                <a:latin typeface="Segoe UI"/>
              </a:rPr>
              <a:t>File Upload</a:t>
            </a:r>
          </a:p>
          <a:p>
            <a:pPr lvl="1" algn="ctr" defTabSz="932563">
              <a:defRPr/>
            </a:pPr>
            <a:r>
              <a:rPr lang="en-US" sz="1200" err="1">
                <a:solidFill>
                  <a:schemeClr val="bg1"/>
                </a:solidFill>
                <a:latin typeface="Segoe UI"/>
              </a:rPr>
              <a:t>WebSockets</a:t>
            </a:r>
            <a:r>
              <a:rPr lang="en-US" sz="1200">
                <a:solidFill>
                  <a:schemeClr val="bg1"/>
                </a:solidFill>
                <a:latin typeface="Segoe UI"/>
              </a:rPr>
              <a:t> &amp; Multiplexing</a:t>
            </a:r>
          </a:p>
          <a:p>
            <a:pPr lvl="1" algn="ctr" defTabSz="932563">
              <a:defRPr/>
            </a:pPr>
            <a:r>
              <a:rPr lang="en-US" sz="1200">
                <a:solidFill>
                  <a:schemeClr val="bg1"/>
                </a:solidFill>
                <a:latin typeface="Segoe UI"/>
              </a:rPr>
              <a:t>Azure Monitor</a:t>
            </a:r>
          </a:p>
          <a:p>
            <a:pPr lvl="1" algn="ctr" defTabSz="932563">
              <a:defRPr/>
            </a:pPr>
            <a:r>
              <a:rPr lang="en-US" sz="1200">
                <a:solidFill>
                  <a:schemeClr val="bg1"/>
                </a:solidFill>
                <a:latin typeface="Segoe UI"/>
              </a:rPr>
              <a:t>Azure Resource Health</a:t>
            </a:r>
          </a:p>
          <a:p>
            <a:pPr lvl="1" algn="ctr" defTabSz="932563">
              <a:defRPr/>
            </a:pPr>
            <a:r>
              <a:rPr lang="en-US" sz="1200">
                <a:solidFill>
                  <a:schemeClr val="bg1"/>
                </a:solidFill>
                <a:latin typeface="Segoe UI"/>
              </a:rPr>
              <a:t>Configuration Management</a:t>
            </a:r>
          </a:p>
        </p:txBody>
      </p:sp>
      <p:cxnSp>
        <p:nvCxnSpPr>
          <p:cNvPr id="86" name="Straight Connector 85">
            <a:extLst>
              <a:ext uri="{FF2B5EF4-FFF2-40B4-BE49-F238E27FC236}">
                <a16:creationId xmlns:a16="http://schemas.microsoft.com/office/drawing/2014/main" id="{89DF78A7-83D9-4362-A007-7B2F01909ED3}"/>
              </a:ext>
            </a:extLst>
          </p:cNvPr>
          <p:cNvCxnSpPr/>
          <p:nvPr/>
        </p:nvCxnSpPr>
        <p:spPr>
          <a:xfrm>
            <a:off x="3477629" y="3767217"/>
            <a:ext cx="1371465" cy="0"/>
          </a:xfrm>
          <a:prstGeom prst="line">
            <a:avLst/>
          </a:prstGeom>
          <a:noFill/>
          <a:ln w="19050" cap="flat" cmpd="sng" algn="ctr">
            <a:solidFill>
              <a:schemeClr val="tx2"/>
            </a:solidFill>
            <a:prstDash val="sysDot"/>
          </a:ln>
          <a:effectLst/>
        </p:spPr>
      </p:cxnSp>
      <p:sp>
        <p:nvSpPr>
          <p:cNvPr id="87" name="Text Placeholder 8">
            <a:extLst>
              <a:ext uri="{FF2B5EF4-FFF2-40B4-BE49-F238E27FC236}">
                <a16:creationId xmlns:a16="http://schemas.microsoft.com/office/drawing/2014/main" id="{5A558FF3-0E36-4A4B-BBE6-74FF8BDD0B62}"/>
              </a:ext>
            </a:extLst>
          </p:cNvPr>
          <p:cNvSpPr txBox="1">
            <a:spLocks/>
          </p:cNvSpPr>
          <p:nvPr/>
        </p:nvSpPr>
        <p:spPr>
          <a:xfrm>
            <a:off x="5875322" y="3023744"/>
            <a:ext cx="1982894" cy="477653"/>
          </a:xfrm>
          <a:prstGeom prst="rect">
            <a:avLst/>
          </a:prstGeom>
        </p:spPr>
        <p:txBody>
          <a:bodyPr/>
          <a:lstStyle>
            <a:lvl1pPr marL="0" indent="0" algn="l" defTabSz="271902"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1pPr>
            <a:lvl2pPr marL="10709" indent="0" algn="l" defTabSz="271902"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339878" indent="-67976" algn="l" defTabSz="271902"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475830" indent="-67976" algn="l" defTabSz="271902"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611780" indent="-67976" algn="l" defTabSz="271902"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747732"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6pPr>
            <a:lvl7pPr marL="883683"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7pPr>
            <a:lvl8pPr marL="1019634"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8pPr>
            <a:lvl9pPr marL="1155585"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9pPr>
          </a:lstStyle>
          <a:p>
            <a:pPr algn="ctr" defTabSz="271850">
              <a:defRPr/>
            </a:pPr>
            <a:r>
              <a:rPr lang="en-US" sz="1800">
                <a:solidFill>
                  <a:schemeClr val="bg1"/>
                </a:solidFill>
                <a:latin typeface="Segoe UI Semilight" panose="020B0402040204020203" pitchFamily="34" charset="0"/>
                <a:cs typeface="Segoe UI Semilight" panose="020B0402040204020203" pitchFamily="34" charset="0"/>
              </a:rPr>
              <a:t>End-to-end </a:t>
            </a:r>
            <a:br>
              <a:rPr lang="en-US" sz="1800">
                <a:solidFill>
                  <a:schemeClr val="bg1"/>
                </a:solidFill>
                <a:latin typeface="Segoe UI Semilight" panose="020B0402040204020203" pitchFamily="34" charset="0"/>
                <a:cs typeface="Segoe UI Semilight" panose="020B0402040204020203" pitchFamily="34" charset="0"/>
              </a:rPr>
            </a:br>
            <a:r>
              <a:rPr lang="en-US" sz="1800">
                <a:solidFill>
                  <a:schemeClr val="bg1"/>
                </a:solidFill>
                <a:latin typeface="Segoe UI Semilight" panose="020B0402040204020203" pitchFamily="34" charset="0"/>
                <a:cs typeface="Segoe UI Semilight" panose="020B0402040204020203" pitchFamily="34" charset="0"/>
              </a:rPr>
              <a:t>security</a:t>
            </a:r>
          </a:p>
          <a:p>
            <a:pPr algn="ctr" defTabSz="271850">
              <a:defRPr/>
            </a:pPr>
            <a:endParaRPr lang="en-US" sz="1800">
              <a:solidFill>
                <a:schemeClr val="bg1"/>
              </a:solidFill>
              <a:latin typeface="Segoe UI Semibold" panose="020B0702040204020203" pitchFamily="34" charset="0"/>
              <a:cs typeface="Segoe UI Semibold" panose="020B0702040204020203" pitchFamily="34" charset="0"/>
            </a:endParaRPr>
          </a:p>
        </p:txBody>
      </p:sp>
      <p:sp>
        <p:nvSpPr>
          <p:cNvPr id="88" name="Text Placeholder 8">
            <a:extLst>
              <a:ext uri="{FF2B5EF4-FFF2-40B4-BE49-F238E27FC236}">
                <a16:creationId xmlns:a16="http://schemas.microsoft.com/office/drawing/2014/main" id="{946B3C3B-5E18-4966-AED6-7AD2C180AC6A}"/>
              </a:ext>
            </a:extLst>
          </p:cNvPr>
          <p:cNvSpPr txBox="1">
            <a:spLocks/>
          </p:cNvSpPr>
          <p:nvPr/>
        </p:nvSpPr>
        <p:spPr>
          <a:xfrm>
            <a:off x="5564071" y="3898572"/>
            <a:ext cx="2605394" cy="2343106"/>
          </a:xfrm>
          <a:prstGeom prst="rect">
            <a:avLst/>
          </a:prstGeom>
        </p:spPr>
        <p:txBody>
          <a:bodyPr vert="horz" wrap="square" lIns="146264" tIns="91415" rIns="146264" bIns="91415" rtlCol="0">
            <a:spAutoFit/>
          </a:bodyPr>
          <a:lstStyle>
            <a:lvl1pPr marL="0" marR="0" indent="0" algn="l" defTabSz="932742" rtl="0" eaLnBrk="1" fontAlgn="auto" latinLnBrk="0" hangingPunct="1">
              <a:lnSpc>
                <a:spcPct val="90000"/>
              </a:lnSpc>
              <a:spcBef>
                <a:spcPts val="1800"/>
              </a:spcBef>
              <a:spcAft>
                <a:spcPts val="0"/>
              </a:spcAft>
              <a:buClrTx/>
              <a:buSzPct val="90000"/>
              <a:buFont typeface="Wingdings" panose="05000000000000000000" pitchFamily="2" charset="2"/>
              <a:buNone/>
              <a:tabLst/>
              <a:defRPr sz="2000" kern="1200" spc="0" baseline="0">
                <a:solidFill>
                  <a:schemeClr val="tx2"/>
                </a:solidFill>
                <a:latin typeface="+mn-lt"/>
                <a:ea typeface="+mn-ea"/>
                <a:cs typeface="+mn-cs"/>
              </a:defRPr>
            </a:lvl1pPr>
            <a:lvl2pPr marL="0" marR="0" indent="0" algn="l" defTabSz="932742" rtl="0" eaLnBrk="1" fontAlgn="auto" latinLnBrk="0" hangingPunct="1">
              <a:lnSpc>
                <a:spcPct val="9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defTabSz="932563">
              <a:defRPr/>
            </a:pPr>
            <a:r>
              <a:rPr lang="en-US" sz="1200" dirty="0">
                <a:solidFill>
                  <a:schemeClr val="bg1"/>
                </a:solidFill>
                <a:latin typeface="Segoe UI"/>
              </a:rPr>
              <a:t>Per Device Certificates</a:t>
            </a:r>
          </a:p>
          <a:p>
            <a:pPr lvl="1" algn="ctr" defTabSz="932563">
              <a:defRPr/>
            </a:pPr>
            <a:r>
              <a:rPr lang="en-US" sz="1200" dirty="0">
                <a:solidFill>
                  <a:schemeClr val="bg1"/>
                </a:solidFill>
                <a:latin typeface="Segoe UI"/>
              </a:rPr>
              <a:t>Per Device Enable/Disable</a:t>
            </a:r>
          </a:p>
          <a:p>
            <a:pPr lvl="1" algn="ctr" defTabSz="932563">
              <a:defRPr/>
            </a:pPr>
            <a:r>
              <a:rPr lang="en-US" sz="1200" dirty="0">
                <a:solidFill>
                  <a:schemeClr val="bg1"/>
                </a:solidFill>
                <a:latin typeface="Segoe UI"/>
              </a:rPr>
              <a:t>TLS Security</a:t>
            </a:r>
          </a:p>
          <a:p>
            <a:pPr lvl="1" algn="ctr" defTabSz="932563">
              <a:defRPr/>
            </a:pPr>
            <a:r>
              <a:rPr lang="en-US" sz="1200" dirty="0">
                <a:solidFill>
                  <a:schemeClr val="bg1"/>
                </a:solidFill>
                <a:latin typeface="Segoe UI"/>
              </a:rPr>
              <a:t>X.509 Support</a:t>
            </a:r>
          </a:p>
          <a:p>
            <a:pPr lvl="1" algn="ctr" defTabSz="932563">
              <a:defRPr/>
            </a:pPr>
            <a:r>
              <a:rPr lang="en-US" sz="1200" dirty="0">
                <a:solidFill>
                  <a:schemeClr val="bg1"/>
                </a:solidFill>
                <a:latin typeface="Segoe UI"/>
              </a:rPr>
              <a:t>IP Whitelisting/Blacklisting</a:t>
            </a:r>
          </a:p>
          <a:p>
            <a:pPr lvl="1" algn="ctr" defTabSz="932563">
              <a:defRPr/>
            </a:pPr>
            <a:r>
              <a:rPr lang="en-US" sz="1200" dirty="0">
                <a:solidFill>
                  <a:schemeClr val="bg1"/>
                </a:solidFill>
                <a:latin typeface="Segoe UI"/>
              </a:rPr>
              <a:t>Shared Access Polices</a:t>
            </a:r>
          </a:p>
          <a:p>
            <a:pPr lvl="1" algn="ctr" defTabSz="932563">
              <a:defRPr/>
            </a:pPr>
            <a:r>
              <a:rPr lang="en-US" sz="1200" dirty="0">
                <a:solidFill>
                  <a:schemeClr val="bg1"/>
                </a:solidFill>
                <a:latin typeface="Segoe UI"/>
              </a:rPr>
              <a:t>Firmware/Software Updates</a:t>
            </a:r>
          </a:p>
          <a:p>
            <a:pPr lvl="1" algn="ctr" defTabSz="932563">
              <a:defRPr/>
            </a:pPr>
            <a:r>
              <a:rPr lang="en-US" sz="1200" dirty="0">
                <a:solidFill>
                  <a:schemeClr val="bg1"/>
                </a:solidFill>
                <a:latin typeface="Segoe UI"/>
              </a:rPr>
              <a:t>Azure Defender Support</a:t>
            </a:r>
          </a:p>
        </p:txBody>
      </p:sp>
      <p:cxnSp>
        <p:nvCxnSpPr>
          <p:cNvPr id="89" name="Straight Connector 88">
            <a:extLst>
              <a:ext uri="{FF2B5EF4-FFF2-40B4-BE49-F238E27FC236}">
                <a16:creationId xmlns:a16="http://schemas.microsoft.com/office/drawing/2014/main" id="{F52E9B01-28B1-4944-82FE-1C59E4FD5DE7}"/>
              </a:ext>
            </a:extLst>
          </p:cNvPr>
          <p:cNvCxnSpPr/>
          <p:nvPr/>
        </p:nvCxnSpPr>
        <p:spPr>
          <a:xfrm>
            <a:off x="6181035" y="3767788"/>
            <a:ext cx="1371465" cy="0"/>
          </a:xfrm>
          <a:prstGeom prst="line">
            <a:avLst/>
          </a:prstGeom>
          <a:noFill/>
          <a:ln w="19050" cap="flat" cmpd="sng" algn="ctr">
            <a:solidFill>
              <a:schemeClr val="tx2"/>
            </a:solidFill>
            <a:prstDash val="sysDot"/>
          </a:ln>
          <a:effectLst/>
        </p:spPr>
      </p:cxnSp>
      <p:sp>
        <p:nvSpPr>
          <p:cNvPr id="90" name="Text Placeholder 6">
            <a:extLst>
              <a:ext uri="{FF2B5EF4-FFF2-40B4-BE49-F238E27FC236}">
                <a16:creationId xmlns:a16="http://schemas.microsoft.com/office/drawing/2014/main" id="{A4184A91-F3DB-4CDA-BD68-7DFB4DA875E7}"/>
              </a:ext>
            </a:extLst>
          </p:cNvPr>
          <p:cNvSpPr txBox="1">
            <a:spLocks/>
          </p:cNvSpPr>
          <p:nvPr/>
        </p:nvSpPr>
        <p:spPr>
          <a:xfrm>
            <a:off x="612387" y="3023744"/>
            <a:ext cx="1982895" cy="477653"/>
          </a:xfrm>
          <a:prstGeom prst="rect">
            <a:avLst/>
          </a:prstGeom>
        </p:spPr>
        <p:txBody>
          <a:bodyPr/>
          <a:lstStyle>
            <a:lvl1pPr marL="0" indent="0" algn="l" defTabSz="271902"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1pPr>
            <a:lvl2pPr marL="10709" indent="0" algn="l" defTabSz="271902"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339878" indent="-67976" algn="l" defTabSz="271902"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475830" indent="-67976" algn="l" defTabSz="271902"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611780" indent="-67976" algn="l" defTabSz="271902"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747732"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6pPr>
            <a:lvl7pPr marL="883683"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7pPr>
            <a:lvl8pPr marL="1019634"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8pPr>
            <a:lvl9pPr marL="1155585"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9pPr>
          </a:lstStyle>
          <a:p>
            <a:pPr algn="ctr" defTabSz="271850">
              <a:defRPr/>
            </a:pPr>
            <a:r>
              <a:rPr lang="en-US" sz="1800">
                <a:solidFill>
                  <a:schemeClr val="bg1"/>
                </a:solidFill>
                <a:latin typeface="Segoe UI Semilight" panose="020B0402040204020203" pitchFamily="34" charset="0"/>
                <a:cs typeface="Segoe UI Semilight" panose="020B0402040204020203" pitchFamily="34" charset="0"/>
              </a:rPr>
              <a:t>Bi-directional communication</a:t>
            </a:r>
            <a:endParaRPr lang="en-US" sz="1400">
              <a:solidFill>
                <a:schemeClr val="bg1"/>
              </a:solidFill>
              <a:latin typeface="Segoe UI Semilight" panose="020B0402040204020203" pitchFamily="34" charset="0"/>
              <a:cs typeface="Segoe UI Semilight" panose="020B0402040204020203" pitchFamily="34" charset="0"/>
            </a:endParaRPr>
          </a:p>
        </p:txBody>
      </p:sp>
      <p:sp>
        <p:nvSpPr>
          <p:cNvPr id="91" name="Text Placeholder 6">
            <a:extLst>
              <a:ext uri="{FF2B5EF4-FFF2-40B4-BE49-F238E27FC236}">
                <a16:creationId xmlns:a16="http://schemas.microsoft.com/office/drawing/2014/main" id="{3D37850B-9A2C-4501-9571-B864A2BC86A1}"/>
              </a:ext>
            </a:extLst>
          </p:cNvPr>
          <p:cNvSpPr txBox="1">
            <a:spLocks/>
          </p:cNvSpPr>
          <p:nvPr/>
        </p:nvSpPr>
        <p:spPr>
          <a:xfrm>
            <a:off x="343068" y="3898573"/>
            <a:ext cx="2521532" cy="2512615"/>
          </a:xfrm>
          <a:prstGeom prst="rect">
            <a:avLst/>
          </a:prstGeom>
        </p:spPr>
        <p:txBody>
          <a:bodyPr vert="horz" wrap="square" lIns="146264" tIns="91415" rIns="146264" bIns="91415" rtlCol="0">
            <a:spAutoFit/>
          </a:bodyPr>
          <a:lstStyle>
            <a:lvl1pPr marL="0" marR="0" indent="0" algn="l" defTabSz="932742" rtl="0" eaLnBrk="1" fontAlgn="auto" latinLnBrk="0" hangingPunct="1">
              <a:lnSpc>
                <a:spcPct val="90000"/>
              </a:lnSpc>
              <a:spcBef>
                <a:spcPts val="1800"/>
              </a:spcBef>
              <a:spcAft>
                <a:spcPts val="0"/>
              </a:spcAft>
              <a:buClrTx/>
              <a:buSzPct val="90000"/>
              <a:buFont typeface="Wingdings" panose="05000000000000000000" pitchFamily="2" charset="2"/>
              <a:buNone/>
              <a:tabLst/>
              <a:defRPr sz="2000" kern="1200" spc="0" baseline="0">
                <a:solidFill>
                  <a:schemeClr val="tx2"/>
                </a:solidFill>
                <a:latin typeface="+mn-lt"/>
                <a:ea typeface="+mn-ea"/>
                <a:cs typeface="+mn-cs"/>
              </a:defRPr>
            </a:lvl1pPr>
            <a:lvl2pPr marL="0" marR="0" indent="0" algn="l" defTabSz="932742" rtl="0" eaLnBrk="1" fontAlgn="auto" latinLnBrk="0" hangingPunct="1">
              <a:lnSpc>
                <a:spcPct val="9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defTabSz="932563">
              <a:defRPr/>
            </a:pPr>
            <a:r>
              <a:rPr lang="en-US" sz="1200">
                <a:solidFill>
                  <a:schemeClr val="bg1"/>
                </a:solidFill>
                <a:latin typeface="Segoe UI"/>
              </a:rPr>
              <a:t>Millions of Devices</a:t>
            </a:r>
          </a:p>
          <a:p>
            <a:pPr lvl="1" algn="ctr" defTabSz="932563">
              <a:defRPr/>
            </a:pPr>
            <a:r>
              <a:rPr lang="en-US" sz="1200">
                <a:solidFill>
                  <a:schemeClr val="bg1"/>
                </a:solidFill>
                <a:latin typeface="Segoe UI"/>
              </a:rPr>
              <a:t>Multi-language, open source SDKs</a:t>
            </a:r>
          </a:p>
          <a:p>
            <a:pPr lvl="1" algn="ctr" defTabSz="932563">
              <a:defRPr/>
            </a:pPr>
            <a:r>
              <a:rPr lang="en-US" sz="1200">
                <a:solidFill>
                  <a:schemeClr val="bg1"/>
                </a:solidFill>
                <a:latin typeface="Segoe UI"/>
              </a:rPr>
              <a:t>HTTPS/AMQPS/MQTTS</a:t>
            </a:r>
          </a:p>
          <a:p>
            <a:pPr lvl="1" algn="ctr" defTabSz="932563">
              <a:defRPr/>
            </a:pPr>
            <a:r>
              <a:rPr lang="en-US" sz="1200">
                <a:solidFill>
                  <a:schemeClr val="bg1"/>
                </a:solidFill>
                <a:latin typeface="Segoe UI"/>
              </a:rPr>
              <a:t>Send Telemetry</a:t>
            </a:r>
          </a:p>
          <a:p>
            <a:pPr lvl="1" algn="ctr" defTabSz="932563">
              <a:defRPr/>
            </a:pPr>
            <a:r>
              <a:rPr lang="en-US" sz="1200">
                <a:solidFill>
                  <a:schemeClr val="bg1"/>
                </a:solidFill>
                <a:latin typeface="Segoe UI"/>
              </a:rPr>
              <a:t>Receive Commands</a:t>
            </a:r>
          </a:p>
          <a:p>
            <a:pPr lvl="1" algn="ctr" defTabSz="932563">
              <a:defRPr/>
            </a:pPr>
            <a:r>
              <a:rPr lang="en-US" sz="1200">
                <a:solidFill>
                  <a:schemeClr val="bg1"/>
                </a:solidFill>
                <a:latin typeface="Segoe UI"/>
              </a:rPr>
              <a:t>Device Management</a:t>
            </a:r>
          </a:p>
          <a:p>
            <a:pPr lvl="1" algn="ctr" defTabSz="932563">
              <a:defRPr/>
            </a:pPr>
            <a:r>
              <a:rPr lang="en-US" sz="1200">
                <a:solidFill>
                  <a:schemeClr val="bg1"/>
                </a:solidFill>
                <a:latin typeface="Segoe UI"/>
              </a:rPr>
              <a:t>Device Twins</a:t>
            </a:r>
          </a:p>
          <a:p>
            <a:pPr lvl="1" algn="ctr" defTabSz="932563">
              <a:defRPr/>
            </a:pPr>
            <a:r>
              <a:rPr lang="en-US" sz="1200">
                <a:solidFill>
                  <a:schemeClr val="bg1"/>
                </a:solidFill>
                <a:latin typeface="Segoe UI"/>
              </a:rPr>
              <a:t>Queries &amp; Jobs</a:t>
            </a:r>
          </a:p>
        </p:txBody>
      </p:sp>
      <p:cxnSp>
        <p:nvCxnSpPr>
          <p:cNvPr id="92" name="Straight Connector 91">
            <a:extLst>
              <a:ext uri="{FF2B5EF4-FFF2-40B4-BE49-F238E27FC236}">
                <a16:creationId xmlns:a16="http://schemas.microsoft.com/office/drawing/2014/main" id="{3ADD9071-C36D-418D-8FCD-9FE416F56ED4}"/>
              </a:ext>
            </a:extLst>
          </p:cNvPr>
          <p:cNvCxnSpPr/>
          <p:nvPr/>
        </p:nvCxnSpPr>
        <p:spPr>
          <a:xfrm>
            <a:off x="918102" y="3751387"/>
            <a:ext cx="1371465" cy="0"/>
          </a:xfrm>
          <a:prstGeom prst="line">
            <a:avLst/>
          </a:prstGeom>
          <a:noFill/>
          <a:ln w="19050" cap="flat" cmpd="sng" algn="ctr">
            <a:solidFill>
              <a:schemeClr val="tx2"/>
            </a:solidFill>
            <a:prstDash val="sysDot"/>
          </a:ln>
          <a:effectLst/>
        </p:spPr>
      </p:cxnSp>
      <p:sp>
        <p:nvSpPr>
          <p:cNvPr id="93" name="Text Placeholder 8">
            <a:extLst>
              <a:ext uri="{FF2B5EF4-FFF2-40B4-BE49-F238E27FC236}">
                <a16:creationId xmlns:a16="http://schemas.microsoft.com/office/drawing/2014/main" id="{F596F23D-91AE-442C-ADE9-A041C3457562}"/>
              </a:ext>
            </a:extLst>
          </p:cNvPr>
          <p:cNvSpPr txBox="1">
            <a:spLocks/>
          </p:cNvSpPr>
          <p:nvPr/>
        </p:nvSpPr>
        <p:spPr>
          <a:xfrm>
            <a:off x="9056325" y="3023744"/>
            <a:ext cx="2416547" cy="477653"/>
          </a:xfrm>
          <a:prstGeom prst="rect">
            <a:avLst/>
          </a:prstGeom>
        </p:spPr>
        <p:txBody>
          <a:bodyPr/>
          <a:lstStyle>
            <a:lvl1pPr marL="0" indent="0" algn="l" defTabSz="271902"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1pPr>
            <a:lvl2pPr marL="10709" indent="0" algn="l" defTabSz="271902"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339878" indent="-67976" algn="l" defTabSz="271902"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475830" indent="-67976" algn="l" defTabSz="271902"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611780" indent="-67976" algn="l" defTabSz="271902"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747732"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6pPr>
            <a:lvl7pPr marL="883683"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7pPr>
            <a:lvl8pPr marL="1019634"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8pPr>
            <a:lvl9pPr marL="1155585" indent="-67976" algn="l" defTabSz="271902" rtl="0" eaLnBrk="1" latinLnBrk="0" hangingPunct="1">
              <a:lnSpc>
                <a:spcPct val="90000"/>
              </a:lnSpc>
              <a:spcBef>
                <a:spcPts val="149"/>
              </a:spcBef>
              <a:buFont typeface="Arial" panose="020B0604020202020204" pitchFamily="34" charset="0"/>
              <a:buChar char="•"/>
              <a:defRPr sz="535" kern="1200">
                <a:solidFill>
                  <a:schemeClr val="tx1"/>
                </a:solidFill>
                <a:latin typeface="+mn-lt"/>
                <a:ea typeface="+mn-ea"/>
                <a:cs typeface="+mn-cs"/>
              </a:defRPr>
            </a:lvl9pPr>
          </a:lstStyle>
          <a:p>
            <a:pPr algn="ctr" defTabSz="271850">
              <a:defRPr/>
            </a:pPr>
            <a:r>
              <a:rPr lang="en-US" sz="1800">
                <a:solidFill>
                  <a:schemeClr val="bg1"/>
                </a:solidFill>
                <a:latin typeface="Segoe UI Semilight" panose="020B0402040204020203" pitchFamily="34" charset="0"/>
                <a:cs typeface="Segoe UI Semilight" panose="020B0402040204020203" pitchFamily="34" charset="0"/>
              </a:rPr>
              <a:t>IoT-scale automated provisioning</a:t>
            </a:r>
          </a:p>
          <a:p>
            <a:pPr algn="ctr" defTabSz="271850">
              <a:defRPr/>
            </a:pPr>
            <a:endParaRPr lang="en-US" sz="1800">
              <a:solidFill>
                <a:schemeClr val="bg1"/>
              </a:solidFill>
              <a:latin typeface="Segoe UI Semibold" panose="020B0702040204020203" pitchFamily="34" charset="0"/>
              <a:cs typeface="Segoe UI Semibold" panose="020B0702040204020203" pitchFamily="34" charset="0"/>
            </a:endParaRPr>
          </a:p>
        </p:txBody>
      </p:sp>
      <p:sp>
        <p:nvSpPr>
          <p:cNvPr id="94" name="Text Placeholder 8">
            <a:extLst>
              <a:ext uri="{FF2B5EF4-FFF2-40B4-BE49-F238E27FC236}">
                <a16:creationId xmlns:a16="http://schemas.microsoft.com/office/drawing/2014/main" id="{81E2E5FF-BE10-4846-9B9D-53C1BBF6533B}"/>
              </a:ext>
            </a:extLst>
          </p:cNvPr>
          <p:cNvSpPr txBox="1">
            <a:spLocks/>
          </p:cNvSpPr>
          <p:nvPr/>
        </p:nvSpPr>
        <p:spPr>
          <a:xfrm>
            <a:off x="9112870" y="3898572"/>
            <a:ext cx="2303457" cy="1829705"/>
          </a:xfrm>
          <a:prstGeom prst="rect">
            <a:avLst/>
          </a:prstGeom>
        </p:spPr>
        <p:txBody>
          <a:bodyPr vert="horz" wrap="square" lIns="146264" tIns="91415" rIns="146264" bIns="91415" rtlCol="0">
            <a:spAutoFit/>
          </a:bodyPr>
          <a:lstStyle>
            <a:lvl1pPr marL="0" marR="0" indent="0" algn="l" defTabSz="932742" rtl="0" eaLnBrk="1" fontAlgn="auto" latinLnBrk="0" hangingPunct="1">
              <a:lnSpc>
                <a:spcPct val="90000"/>
              </a:lnSpc>
              <a:spcBef>
                <a:spcPts val="1800"/>
              </a:spcBef>
              <a:spcAft>
                <a:spcPts val="0"/>
              </a:spcAft>
              <a:buClrTx/>
              <a:buSzPct val="90000"/>
              <a:buFont typeface="Wingdings" panose="05000000000000000000" pitchFamily="2" charset="2"/>
              <a:buNone/>
              <a:tabLst/>
              <a:defRPr sz="2000" kern="1200" spc="0" baseline="0">
                <a:solidFill>
                  <a:schemeClr val="tx2"/>
                </a:solidFill>
                <a:latin typeface="+mn-lt"/>
                <a:ea typeface="+mn-ea"/>
                <a:cs typeface="+mn-cs"/>
              </a:defRPr>
            </a:lvl1pPr>
            <a:lvl2pPr marL="0" marR="0" indent="0" algn="l" defTabSz="932742" rtl="0" eaLnBrk="1" fontAlgn="auto" latinLnBrk="0" hangingPunct="1">
              <a:lnSpc>
                <a:spcPct val="9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defTabSz="932563">
              <a:defRPr/>
            </a:pPr>
            <a:r>
              <a:rPr lang="en-US" sz="1200">
                <a:solidFill>
                  <a:schemeClr val="bg1"/>
                </a:solidFill>
                <a:latin typeface="Segoe UI"/>
              </a:rPr>
              <a:t>Zero-touch provisioning</a:t>
            </a:r>
          </a:p>
          <a:p>
            <a:pPr lvl="1" algn="ctr" defTabSz="932563">
              <a:defRPr/>
            </a:pPr>
            <a:r>
              <a:rPr lang="en-US" sz="1200">
                <a:solidFill>
                  <a:schemeClr val="bg1"/>
                </a:solidFill>
                <a:latin typeface="Segoe UI"/>
              </a:rPr>
              <a:t>Centralize  your provisioning workflow</a:t>
            </a:r>
          </a:p>
          <a:p>
            <a:pPr lvl="1" algn="ctr" defTabSz="932563">
              <a:defRPr/>
            </a:pPr>
            <a:r>
              <a:rPr lang="en-US" sz="1200">
                <a:solidFill>
                  <a:schemeClr val="bg1"/>
                </a:solidFill>
                <a:latin typeface="Segoe UI"/>
              </a:rPr>
              <a:t>Load balance across multiple IoT Hubs</a:t>
            </a:r>
          </a:p>
          <a:p>
            <a:pPr lvl="1" algn="ctr" defTabSz="932563">
              <a:defRPr/>
            </a:pPr>
            <a:r>
              <a:rPr lang="en-US" sz="1200">
                <a:solidFill>
                  <a:schemeClr val="bg1"/>
                </a:solidFill>
                <a:latin typeface="Segoe UI"/>
              </a:rPr>
              <a:t>Re-provisioning support</a:t>
            </a:r>
          </a:p>
          <a:p>
            <a:pPr lvl="1" algn="ctr" defTabSz="932563">
              <a:defRPr/>
            </a:pPr>
            <a:r>
              <a:rPr lang="en-US" sz="1200">
                <a:solidFill>
                  <a:schemeClr val="bg1"/>
                </a:solidFill>
                <a:latin typeface="Segoe UI"/>
              </a:rPr>
              <a:t>Supports TPM + X.509</a:t>
            </a:r>
          </a:p>
        </p:txBody>
      </p:sp>
      <p:cxnSp>
        <p:nvCxnSpPr>
          <p:cNvPr id="95" name="Straight Connector 94">
            <a:extLst>
              <a:ext uri="{FF2B5EF4-FFF2-40B4-BE49-F238E27FC236}">
                <a16:creationId xmlns:a16="http://schemas.microsoft.com/office/drawing/2014/main" id="{76815DFD-05CF-473B-9B0E-1D9C03BE55B6}"/>
              </a:ext>
            </a:extLst>
          </p:cNvPr>
          <p:cNvCxnSpPr/>
          <p:nvPr/>
        </p:nvCxnSpPr>
        <p:spPr>
          <a:xfrm>
            <a:off x="9578866" y="3761396"/>
            <a:ext cx="1371465" cy="0"/>
          </a:xfrm>
          <a:prstGeom prst="line">
            <a:avLst/>
          </a:prstGeom>
          <a:noFill/>
          <a:ln w="19050" cap="flat" cmpd="sng" algn="ctr">
            <a:solidFill>
              <a:schemeClr val="tx2"/>
            </a:solidFill>
            <a:prstDash val="sysDot"/>
          </a:ln>
          <a:effectLst/>
        </p:spPr>
      </p:cxnSp>
      <p:sp>
        <p:nvSpPr>
          <p:cNvPr id="96" name="Title 1">
            <a:extLst>
              <a:ext uri="{FF2B5EF4-FFF2-40B4-BE49-F238E27FC236}">
                <a16:creationId xmlns:a16="http://schemas.microsoft.com/office/drawing/2014/main" id="{B1C90A45-17C4-49DF-8668-45452CDC1B09}"/>
              </a:ext>
            </a:extLst>
          </p:cNvPr>
          <p:cNvSpPr txBox="1">
            <a:spLocks/>
          </p:cNvSpPr>
          <p:nvPr/>
        </p:nvSpPr>
        <p:spPr>
          <a:xfrm>
            <a:off x="2824755" y="1741548"/>
            <a:ext cx="2807535"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defRPr/>
            </a:pPr>
            <a:r>
              <a:rPr lang="en-US" sz="1800" b="0">
                <a:solidFill>
                  <a:schemeClr val="bg1"/>
                </a:solidFill>
                <a:latin typeface="Segoe UI Semilight" panose="020B0402040204020203" pitchFamily="34" charset="0"/>
                <a:cs typeface="Segoe UI Semilight" panose="020B0402040204020203" pitchFamily="34" charset="0"/>
              </a:rPr>
              <a:t>Azure IoT Hub</a:t>
            </a:r>
          </a:p>
        </p:txBody>
      </p:sp>
      <p:sp>
        <p:nvSpPr>
          <p:cNvPr id="97" name="Title 1">
            <a:extLst>
              <a:ext uri="{FF2B5EF4-FFF2-40B4-BE49-F238E27FC236}">
                <a16:creationId xmlns:a16="http://schemas.microsoft.com/office/drawing/2014/main" id="{5E3C2F7A-BAB3-46D9-B3A1-40A1B60FAE2E}"/>
              </a:ext>
            </a:extLst>
          </p:cNvPr>
          <p:cNvSpPr txBox="1">
            <a:spLocks/>
          </p:cNvSpPr>
          <p:nvPr/>
        </p:nvSpPr>
        <p:spPr>
          <a:xfrm>
            <a:off x="8867710" y="1462366"/>
            <a:ext cx="3095682"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defRPr/>
            </a:pPr>
            <a:r>
              <a:rPr lang="en-US" sz="1800" b="0">
                <a:solidFill>
                  <a:schemeClr val="bg1"/>
                </a:solidFill>
                <a:latin typeface="Segoe UI Semilight" panose="020B0402040204020203" pitchFamily="34" charset="0"/>
                <a:cs typeface="Segoe UI Semilight" panose="020B0402040204020203" pitchFamily="34" charset="0"/>
              </a:rPr>
              <a:t>Device </a:t>
            </a:r>
            <a:br>
              <a:rPr lang="en-US" sz="1800" b="0">
                <a:solidFill>
                  <a:schemeClr val="bg1"/>
                </a:solidFill>
                <a:latin typeface="Segoe UI Semilight" panose="020B0402040204020203" pitchFamily="34" charset="0"/>
                <a:cs typeface="Segoe UI Semilight" panose="020B0402040204020203" pitchFamily="34" charset="0"/>
              </a:rPr>
            </a:br>
            <a:r>
              <a:rPr lang="en-US" sz="1800" b="0">
                <a:solidFill>
                  <a:schemeClr val="bg1"/>
                </a:solidFill>
                <a:latin typeface="Segoe UI Semilight" panose="020B0402040204020203" pitchFamily="34" charset="0"/>
                <a:cs typeface="Segoe UI Semilight" panose="020B0402040204020203" pitchFamily="34" charset="0"/>
              </a:rPr>
              <a:t>Provisioning Service</a:t>
            </a:r>
          </a:p>
        </p:txBody>
      </p:sp>
      <p:cxnSp>
        <p:nvCxnSpPr>
          <p:cNvPr id="98" name="Straight Connector 97">
            <a:extLst>
              <a:ext uri="{FF2B5EF4-FFF2-40B4-BE49-F238E27FC236}">
                <a16:creationId xmlns:a16="http://schemas.microsoft.com/office/drawing/2014/main" id="{EDBC7A18-48AA-4A8B-8EC4-224ED2C31F2C}"/>
              </a:ext>
            </a:extLst>
          </p:cNvPr>
          <p:cNvCxnSpPr>
            <a:cxnSpLocks/>
          </p:cNvCxnSpPr>
          <p:nvPr/>
        </p:nvCxnSpPr>
        <p:spPr>
          <a:xfrm>
            <a:off x="8878429" y="2104437"/>
            <a:ext cx="2772342"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1B98176F-9127-48BA-A25C-B9C7C3C661E1}"/>
              </a:ext>
            </a:extLst>
          </p:cNvPr>
          <p:cNvCxnSpPr>
            <a:cxnSpLocks/>
          </p:cNvCxnSpPr>
          <p:nvPr/>
        </p:nvCxnSpPr>
        <p:spPr>
          <a:xfrm>
            <a:off x="493953" y="2104437"/>
            <a:ext cx="7824543"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100" name="Title 1">
            <a:extLst>
              <a:ext uri="{FF2B5EF4-FFF2-40B4-BE49-F238E27FC236}">
                <a16:creationId xmlns:a16="http://schemas.microsoft.com/office/drawing/2014/main" id="{42414596-7480-4704-93E7-6F44B919D5CB}"/>
              </a:ext>
            </a:extLst>
          </p:cNvPr>
          <p:cNvSpPr txBox="1">
            <a:spLocks/>
          </p:cNvSpPr>
          <p:nvPr/>
        </p:nvSpPr>
        <p:spPr>
          <a:xfrm>
            <a:off x="444041" y="639898"/>
            <a:ext cx="11303917" cy="397545"/>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gradFill>
                  <a:gsLst>
                    <a:gs pos="0">
                      <a:schemeClr val="tx1"/>
                    </a:gs>
                    <a:gs pos="100000">
                      <a:schemeClr val="tx1"/>
                    </a:gs>
                  </a:gsLst>
                  <a:lin ang="5400000" scaled="1"/>
                </a:gradFill>
                <a:effectLst/>
                <a:latin typeface="+mj-lt"/>
                <a:ea typeface="+mn-ea"/>
                <a:cs typeface="Segoe UI" pitchFamily="34" charset="0"/>
              </a:defRPr>
            </a:lvl1pPr>
          </a:lstStyle>
          <a:p>
            <a:r>
              <a:rPr lang="en-US" dirty="0">
                <a:solidFill>
                  <a:schemeClr val="bg1"/>
                </a:solidFill>
              </a:rPr>
              <a:t>IoT Hub and Device Provisioning Service</a:t>
            </a:r>
          </a:p>
        </p:txBody>
      </p:sp>
      <p:sp>
        <p:nvSpPr>
          <p:cNvPr id="101" name="Shield_EA18" title="Icon of a shield">
            <a:extLst>
              <a:ext uri="{FF2B5EF4-FFF2-40B4-BE49-F238E27FC236}">
                <a16:creationId xmlns:a16="http://schemas.microsoft.com/office/drawing/2014/main" id="{A82C267A-FD2C-4062-93ED-3371FDE731EB}"/>
              </a:ext>
            </a:extLst>
          </p:cNvPr>
          <p:cNvSpPr>
            <a:spLocks noChangeAspect="1"/>
          </p:cNvSpPr>
          <p:nvPr/>
        </p:nvSpPr>
        <p:spPr bwMode="auto">
          <a:xfrm>
            <a:off x="6695585" y="2443712"/>
            <a:ext cx="343495" cy="36570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chemeClr val="bg1"/>
              </a:solidFill>
              <a:latin typeface="Segoe UI"/>
            </a:endParaRPr>
          </a:p>
        </p:txBody>
      </p:sp>
      <p:sp>
        <p:nvSpPr>
          <p:cNvPr id="102" name="arrow_6" title="Icon of two arrows pointing in opposite direction of each other">
            <a:extLst>
              <a:ext uri="{FF2B5EF4-FFF2-40B4-BE49-F238E27FC236}">
                <a16:creationId xmlns:a16="http://schemas.microsoft.com/office/drawing/2014/main" id="{D28F15E8-D943-4E3D-8C34-C44C484AF8AC}"/>
              </a:ext>
            </a:extLst>
          </p:cNvPr>
          <p:cNvSpPr>
            <a:spLocks noChangeAspect="1" noEditPoints="1"/>
          </p:cNvSpPr>
          <p:nvPr/>
        </p:nvSpPr>
        <p:spPr bwMode="auto">
          <a:xfrm>
            <a:off x="1437022" y="2457869"/>
            <a:ext cx="389361" cy="365708"/>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rgbClr val="0072C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sz="900">
              <a:solidFill>
                <a:schemeClr val="bg1"/>
              </a:solidFill>
              <a:latin typeface="Segoe UI"/>
            </a:endParaRPr>
          </a:p>
        </p:txBody>
      </p:sp>
      <p:sp>
        <p:nvSpPr>
          <p:cNvPr id="103" name="3D" title="Icon of a 3D box with square points on each corner">
            <a:extLst>
              <a:ext uri="{FF2B5EF4-FFF2-40B4-BE49-F238E27FC236}">
                <a16:creationId xmlns:a16="http://schemas.microsoft.com/office/drawing/2014/main" id="{D446B79F-4165-4C4E-A0A7-AF599BBCBB58}"/>
              </a:ext>
            </a:extLst>
          </p:cNvPr>
          <p:cNvSpPr>
            <a:spLocks noChangeAspect="1" noEditPoints="1"/>
          </p:cNvSpPr>
          <p:nvPr/>
        </p:nvSpPr>
        <p:spPr bwMode="auto">
          <a:xfrm>
            <a:off x="4089696" y="2452943"/>
            <a:ext cx="342011" cy="365708"/>
          </a:xfrm>
          <a:custGeom>
            <a:avLst/>
            <a:gdLst>
              <a:gd name="T0" fmla="*/ 67 w 534"/>
              <a:gd name="T1" fmla="*/ 117 h 571"/>
              <a:gd name="T2" fmla="*/ 232 w 534"/>
              <a:gd name="T3" fmla="*/ 35 h 571"/>
              <a:gd name="T4" fmla="*/ 302 w 534"/>
              <a:gd name="T5" fmla="*/ 33 h 571"/>
              <a:gd name="T6" fmla="*/ 467 w 534"/>
              <a:gd name="T7" fmla="*/ 117 h 571"/>
              <a:gd name="T8" fmla="*/ 534 w 534"/>
              <a:gd name="T9" fmla="*/ 461 h 571"/>
              <a:gd name="T10" fmla="*/ 534 w 534"/>
              <a:gd name="T11" fmla="*/ 427 h 571"/>
              <a:gd name="T12" fmla="*/ 467 w 534"/>
              <a:gd name="T13" fmla="*/ 427 h 571"/>
              <a:gd name="T14" fmla="*/ 467 w 534"/>
              <a:gd name="T15" fmla="*/ 495 h 571"/>
              <a:gd name="T16" fmla="*/ 534 w 534"/>
              <a:gd name="T17" fmla="*/ 495 h 571"/>
              <a:gd name="T18" fmla="*/ 534 w 534"/>
              <a:gd name="T19" fmla="*/ 461 h 571"/>
              <a:gd name="T20" fmla="*/ 302 w 534"/>
              <a:gd name="T21" fmla="*/ 537 h 571"/>
              <a:gd name="T22" fmla="*/ 302 w 534"/>
              <a:gd name="T23" fmla="*/ 502 h 571"/>
              <a:gd name="T24" fmla="*/ 232 w 534"/>
              <a:gd name="T25" fmla="*/ 502 h 571"/>
              <a:gd name="T26" fmla="*/ 232 w 534"/>
              <a:gd name="T27" fmla="*/ 571 h 571"/>
              <a:gd name="T28" fmla="*/ 302 w 534"/>
              <a:gd name="T29" fmla="*/ 571 h 571"/>
              <a:gd name="T30" fmla="*/ 302 w 534"/>
              <a:gd name="T31" fmla="*/ 537 h 571"/>
              <a:gd name="T32" fmla="*/ 67 w 534"/>
              <a:gd name="T33" fmla="*/ 461 h 571"/>
              <a:gd name="T34" fmla="*/ 67 w 534"/>
              <a:gd name="T35" fmla="*/ 427 h 571"/>
              <a:gd name="T36" fmla="*/ 0 w 534"/>
              <a:gd name="T37" fmla="*/ 427 h 571"/>
              <a:gd name="T38" fmla="*/ 0 w 534"/>
              <a:gd name="T39" fmla="*/ 495 h 571"/>
              <a:gd name="T40" fmla="*/ 67 w 534"/>
              <a:gd name="T41" fmla="*/ 495 h 571"/>
              <a:gd name="T42" fmla="*/ 67 w 534"/>
              <a:gd name="T43" fmla="*/ 461 h 571"/>
              <a:gd name="T44" fmla="*/ 67 w 534"/>
              <a:gd name="T45" fmla="*/ 152 h 571"/>
              <a:gd name="T46" fmla="*/ 67 w 534"/>
              <a:gd name="T47" fmla="*/ 117 h 571"/>
              <a:gd name="T48" fmla="*/ 0 w 534"/>
              <a:gd name="T49" fmla="*/ 117 h 571"/>
              <a:gd name="T50" fmla="*/ 0 w 534"/>
              <a:gd name="T51" fmla="*/ 186 h 571"/>
              <a:gd name="T52" fmla="*/ 67 w 534"/>
              <a:gd name="T53" fmla="*/ 186 h 571"/>
              <a:gd name="T54" fmla="*/ 67 w 534"/>
              <a:gd name="T55" fmla="*/ 152 h 571"/>
              <a:gd name="T56" fmla="*/ 302 w 534"/>
              <a:gd name="T57" fmla="*/ 227 h 571"/>
              <a:gd name="T58" fmla="*/ 302 w 534"/>
              <a:gd name="T59" fmla="*/ 193 h 571"/>
              <a:gd name="T60" fmla="*/ 232 w 534"/>
              <a:gd name="T61" fmla="*/ 193 h 571"/>
              <a:gd name="T62" fmla="*/ 232 w 534"/>
              <a:gd name="T63" fmla="*/ 261 h 571"/>
              <a:gd name="T64" fmla="*/ 302 w 534"/>
              <a:gd name="T65" fmla="*/ 261 h 571"/>
              <a:gd name="T66" fmla="*/ 302 w 534"/>
              <a:gd name="T67" fmla="*/ 227 h 571"/>
              <a:gd name="T68" fmla="*/ 302 w 534"/>
              <a:gd name="T69" fmla="*/ 33 h 571"/>
              <a:gd name="T70" fmla="*/ 302 w 534"/>
              <a:gd name="T71" fmla="*/ 0 h 571"/>
              <a:gd name="T72" fmla="*/ 232 w 534"/>
              <a:gd name="T73" fmla="*/ 0 h 571"/>
              <a:gd name="T74" fmla="*/ 232 w 534"/>
              <a:gd name="T75" fmla="*/ 69 h 571"/>
              <a:gd name="T76" fmla="*/ 302 w 534"/>
              <a:gd name="T77" fmla="*/ 69 h 571"/>
              <a:gd name="T78" fmla="*/ 302 w 534"/>
              <a:gd name="T79" fmla="*/ 33 h 571"/>
              <a:gd name="T80" fmla="*/ 534 w 534"/>
              <a:gd name="T81" fmla="*/ 152 h 571"/>
              <a:gd name="T82" fmla="*/ 534 w 534"/>
              <a:gd name="T83" fmla="*/ 117 h 571"/>
              <a:gd name="T84" fmla="*/ 467 w 534"/>
              <a:gd name="T85" fmla="*/ 117 h 571"/>
              <a:gd name="T86" fmla="*/ 467 w 534"/>
              <a:gd name="T87" fmla="*/ 186 h 571"/>
              <a:gd name="T88" fmla="*/ 534 w 534"/>
              <a:gd name="T89" fmla="*/ 186 h 571"/>
              <a:gd name="T90" fmla="*/ 534 w 534"/>
              <a:gd name="T91" fmla="*/ 152 h 571"/>
              <a:gd name="T92" fmla="*/ 302 w 534"/>
              <a:gd name="T93" fmla="*/ 229 h 571"/>
              <a:gd name="T94" fmla="*/ 467 w 534"/>
              <a:gd name="T95" fmla="*/ 152 h 571"/>
              <a:gd name="T96" fmla="*/ 501 w 534"/>
              <a:gd name="T97" fmla="*/ 186 h 571"/>
              <a:gd name="T98" fmla="*/ 501 w 534"/>
              <a:gd name="T99" fmla="*/ 427 h 571"/>
              <a:gd name="T100" fmla="*/ 268 w 534"/>
              <a:gd name="T101" fmla="*/ 261 h 571"/>
              <a:gd name="T102" fmla="*/ 268 w 534"/>
              <a:gd name="T103" fmla="*/ 502 h 571"/>
              <a:gd name="T104" fmla="*/ 34 w 534"/>
              <a:gd name="T105" fmla="*/ 186 h 571"/>
              <a:gd name="T106" fmla="*/ 34 w 534"/>
              <a:gd name="T107" fmla="*/ 427 h 571"/>
              <a:gd name="T108" fmla="*/ 67 w 534"/>
              <a:gd name="T109" fmla="*/ 152 h 571"/>
              <a:gd name="T110" fmla="*/ 232 w 534"/>
              <a:gd name="T111" fmla="*/ 229 h 571"/>
              <a:gd name="T112" fmla="*/ 302 w 534"/>
              <a:gd name="T113" fmla="*/ 537 h 571"/>
              <a:gd name="T114" fmla="*/ 467 w 534"/>
              <a:gd name="T115" fmla="*/ 461 h 571"/>
              <a:gd name="T116" fmla="*/ 232 w 534"/>
              <a:gd name="T117" fmla="*/ 539 h 571"/>
              <a:gd name="T118" fmla="*/ 67 w 534"/>
              <a:gd name="T119" fmla="*/ 46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4" h="571">
                <a:moveTo>
                  <a:pt x="67" y="117"/>
                </a:moveTo>
                <a:lnTo>
                  <a:pt x="232" y="35"/>
                </a:lnTo>
                <a:moveTo>
                  <a:pt x="302" y="33"/>
                </a:moveTo>
                <a:lnTo>
                  <a:pt x="467" y="117"/>
                </a:lnTo>
                <a:moveTo>
                  <a:pt x="534" y="461"/>
                </a:moveTo>
                <a:lnTo>
                  <a:pt x="534" y="427"/>
                </a:lnTo>
                <a:lnTo>
                  <a:pt x="467" y="427"/>
                </a:lnTo>
                <a:lnTo>
                  <a:pt x="467" y="495"/>
                </a:lnTo>
                <a:lnTo>
                  <a:pt x="534" y="495"/>
                </a:lnTo>
                <a:lnTo>
                  <a:pt x="534" y="461"/>
                </a:lnTo>
                <a:moveTo>
                  <a:pt x="302" y="537"/>
                </a:moveTo>
                <a:lnTo>
                  <a:pt x="302" y="502"/>
                </a:lnTo>
                <a:lnTo>
                  <a:pt x="232" y="502"/>
                </a:lnTo>
                <a:lnTo>
                  <a:pt x="232" y="571"/>
                </a:lnTo>
                <a:lnTo>
                  <a:pt x="302" y="571"/>
                </a:lnTo>
                <a:lnTo>
                  <a:pt x="302" y="537"/>
                </a:lnTo>
                <a:moveTo>
                  <a:pt x="67" y="461"/>
                </a:moveTo>
                <a:lnTo>
                  <a:pt x="67" y="427"/>
                </a:lnTo>
                <a:lnTo>
                  <a:pt x="0" y="427"/>
                </a:lnTo>
                <a:lnTo>
                  <a:pt x="0" y="495"/>
                </a:lnTo>
                <a:lnTo>
                  <a:pt x="67" y="495"/>
                </a:lnTo>
                <a:lnTo>
                  <a:pt x="67" y="461"/>
                </a:lnTo>
                <a:moveTo>
                  <a:pt x="67" y="152"/>
                </a:moveTo>
                <a:lnTo>
                  <a:pt x="67" y="117"/>
                </a:lnTo>
                <a:lnTo>
                  <a:pt x="0" y="117"/>
                </a:lnTo>
                <a:lnTo>
                  <a:pt x="0" y="186"/>
                </a:lnTo>
                <a:lnTo>
                  <a:pt x="67" y="186"/>
                </a:lnTo>
                <a:lnTo>
                  <a:pt x="67" y="152"/>
                </a:lnTo>
                <a:moveTo>
                  <a:pt x="302" y="227"/>
                </a:moveTo>
                <a:lnTo>
                  <a:pt x="302" y="193"/>
                </a:lnTo>
                <a:lnTo>
                  <a:pt x="232" y="193"/>
                </a:lnTo>
                <a:lnTo>
                  <a:pt x="232" y="261"/>
                </a:lnTo>
                <a:lnTo>
                  <a:pt x="302" y="261"/>
                </a:lnTo>
                <a:lnTo>
                  <a:pt x="302" y="227"/>
                </a:lnTo>
                <a:moveTo>
                  <a:pt x="302" y="33"/>
                </a:moveTo>
                <a:lnTo>
                  <a:pt x="302" y="0"/>
                </a:lnTo>
                <a:lnTo>
                  <a:pt x="232" y="0"/>
                </a:lnTo>
                <a:lnTo>
                  <a:pt x="232" y="69"/>
                </a:lnTo>
                <a:lnTo>
                  <a:pt x="302" y="69"/>
                </a:lnTo>
                <a:lnTo>
                  <a:pt x="302" y="33"/>
                </a:lnTo>
                <a:moveTo>
                  <a:pt x="534" y="152"/>
                </a:moveTo>
                <a:lnTo>
                  <a:pt x="534" y="117"/>
                </a:lnTo>
                <a:lnTo>
                  <a:pt x="467" y="117"/>
                </a:lnTo>
                <a:lnTo>
                  <a:pt x="467" y="186"/>
                </a:lnTo>
                <a:lnTo>
                  <a:pt x="534" y="186"/>
                </a:lnTo>
                <a:lnTo>
                  <a:pt x="534" y="152"/>
                </a:lnTo>
                <a:moveTo>
                  <a:pt x="302" y="229"/>
                </a:moveTo>
                <a:lnTo>
                  <a:pt x="467" y="152"/>
                </a:lnTo>
                <a:moveTo>
                  <a:pt x="501" y="186"/>
                </a:moveTo>
                <a:lnTo>
                  <a:pt x="501" y="427"/>
                </a:lnTo>
                <a:moveTo>
                  <a:pt x="268" y="261"/>
                </a:moveTo>
                <a:lnTo>
                  <a:pt x="268" y="502"/>
                </a:lnTo>
                <a:moveTo>
                  <a:pt x="34" y="186"/>
                </a:moveTo>
                <a:lnTo>
                  <a:pt x="34" y="427"/>
                </a:lnTo>
                <a:moveTo>
                  <a:pt x="67" y="152"/>
                </a:moveTo>
                <a:lnTo>
                  <a:pt x="232" y="229"/>
                </a:lnTo>
                <a:moveTo>
                  <a:pt x="302" y="537"/>
                </a:moveTo>
                <a:lnTo>
                  <a:pt x="467" y="461"/>
                </a:lnTo>
                <a:moveTo>
                  <a:pt x="232" y="539"/>
                </a:moveTo>
                <a:lnTo>
                  <a:pt x="67" y="461"/>
                </a:lnTo>
              </a:path>
            </a:pathLst>
          </a:custGeom>
          <a:noFill/>
          <a:ln w="15875" cap="sq">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chemeClr val="bg1"/>
              </a:solidFill>
              <a:latin typeface="Segoe UI"/>
            </a:endParaRPr>
          </a:p>
        </p:txBody>
      </p:sp>
      <p:pic>
        <p:nvPicPr>
          <p:cNvPr id="104" name="Graphic 103">
            <a:extLst>
              <a:ext uri="{FF2B5EF4-FFF2-40B4-BE49-F238E27FC236}">
                <a16:creationId xmlns:a16="http://schemas.microsoft.com/office/drawing/2014/main" id="{29C4A099-EFC0-4A46-8330-D25DAC150A8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19536" y="1741546"/>
            <a:ext cx="304757" cy="304757"/>
          </a:xfrm>
          <a:prstGeom prst="rect">
            <a:avLst/>
          </a:prstGeom>
        </p:spPr>
      </p:pic>
      <p:pic>
        <p:nvPicPr>
          <p:cNvPr id="105" name="Picture 104">
            <a:extLst>
              <a:ext uri="{FF2B5EF4-FFF2-40B4-BE49-F238E27FC236}">
                <a16:creationId xmlns:a16="http://schemas.microsoft.com/office/drawing/2014/main" id="{0F09DF1C-2FCB-4868-9126-03C29D01E7D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8428" y="1639986"/>
            <a:ext cx="373189" cy="370298"/>
          </a:xfrm>
          <a:prstGeom prst="rect">
            <a:avLst/>
          </a:prstGeom>
          <a:noFill/>
          <a:ln>
            <a:noFill/>
          </a:ln>
        </p:spPr>
      </p:pic>
      <p:sp>
        <p:nvSpPr>
          <p:cNvPr id="109" name="box" title="Icon of a box">
            <a:extLst>
              <a:ext uri="{FF2B5EF4-FFF2-40B4-BE49-F238E27FC236}">
                <a16:creationId xmlns:a16="http://schemas.microsoft.com/office/drawing/2014/main" id="{749C6973-9DBE-493A-9602-EB100E2AE3DA}"/>
              </a:ext>
            </a:extLst>
          </p:cNvPr>
          <p:cNvSpPr>
            <a:spLocks noChangeAspect="1" noEditPoints="1"/>
          </p:cNvSpPr>
          <p:nvPr/>
        </p:nvSpPr>
        <p:spPr bwMode="auto">
          <a:xfrm>
            <a:off x="10080757" y="2447202"/>
            <a:ext cx="362264" cy="365708"/>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noFill/>
          <a:ln w="15875" cap="flat">
            <a:solidFill>
              <a:srgbClr val="0072C6"/>
            </a:solid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a:solidFill>
                <a:schemeClr val="bg1"/>
              </a:solidFill>
              <a:latin typeface="Segoe UI"/>
            </a:endParaRPr>
          </a:p>
        </p:txBody>
      </p:sp>
    </p:spTree>
    <p:extLst>
      <p:ext uri="{BB962C8B-B14F-4D97-AF65-F5344CB8AC3E}">
        <p14:creationId xmlns:p14="http://schemas.microsoft.com/office/powerpoint/2010/main" val="31629839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 calcmode="lin" valueType="num">
                                      <p:cBhvr additive="base">
                                        <p:cTn id="7" dur="500" fill="hold"/>
                                        <p:tgtEl>
                                          <p:spTgt spid="90"/>
                                        </p:tgtEl>
                                        <p:attrNameLst>
                                          <p:attrName>ppt_x</p:attrName>
                                        </p:attrNameLst>
                                      </p:cBhvr>
                                      <p:tavLst>
                                        <p:tav tm="0">
                                          <p:val>
                                            <p:strVal val="#ppt_x"/>
                                          </p:val>
                                        </p:tav>
                                        <p:tav tm="100000">
                                          <p:val>
                                            <p:strVal val="#ppt_x"/>
                                          </p:val>
                                        </p:tav>
                                      </p:tavLst>
                                    </p:anim>
                                    <p:anim calcmode="lin" valueType="num">
                                      <p:cBhvr additive="base">
                                        <p:cTn id="8" dur="500" fill="hold"/>
                                        <p:tgtEl>
                                          <p:spTgt spid="9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02"/>
                                        </p:tgtEl>
                                        <p:attrNameLst>
                                          <p:attrName>style.visibility</p:attrName>
                                        </p:attrNameLst>
                                      </p:cBhvr>
                                      <p:to>
                                        <p:strVal val="visible"/>
                                      </p:to>
                                    </p:set>
                                    <p:anim calcmode="lin" valueType="num">
                                      <p:cBhvr additive="base">
                                        <p:cTn id="11" dur="500" fill="hold"/>
                                        <p:tgtEl>
                                          <p:spTgt spid="102"/>
                                        </p:tgtEl>
                                        <p:attrNameLst>
                                          <p:attrName>ppt_x</p:attrName>
                                        </p:attrNameLst>
                                      </p:cBhvr>
                                      <p:tavLst>
                                        <p:tav tm="0">
                                          <p:val>
                                            <p:strVal val="#ppt_x"/>
                                          </p:val>
                                        </p:tav>
                                        <p:tav tm="100000">
                                          <p:val>
                                            <p:strVal val="#ppt_x"/>
                                          </p:val>
                                        </p:tav>
                                      </p:tavLst>
                                    </p:anim>
                                    <p:anim calcmode="lin" valueType="num">
                                      <p:cBhvr additive="base">
                                        <p:cTn id="12" dur="500" fill="hold"/>
                                        <p:tgtEl>
                                          <p:spTgt spid="102"/>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92"/>
                                        </p:tgtEl>
                                        <p:attrNameLst>
                                          <p:attrName>style.visibility</p:attrName>
                                        </p:attrNameLst>
                                      </p:cBhvr>
                                      <p:to>
                                        <p:strVal val="visible"/>
                                      </p:to>
                                    </p:set>
                                    <p:anim calcmode="lin" valueType="num">
                                      <p:cBhvr additive="base">
                                        <p:cTn id="15" dur="500" fill="hold"/>
                                        <p:tgtEl>
                                          <p:spTgt spid="92"/>
                                        </p:tgtEl>
                                        <p:attrNameLst>
                                          <p:attrName>ppt_x</p:attrName>
                                        </p:attrNameLst>
                                      </p:cBhvr>
                                      <p:tavLst>
                                        <p:tav tm="0">
                                          <p:val>
                                            <p:strVal val="#ppt_x"/>
                                          </p:val>
                                        </p:tav>
                                        <p:tav tm="100000">
                                          <p:val>
                                            <p:strVal val="#ppt_x"/>
                                          </p:val>
                                        </p:tav>
                                      </p:tavLst>
                                    </p:anim>
                                    <p:anim calcmode="lin" valueType="num">
                                      <p:cBhvr additive="base">
                                        <p:cTn id="16" dur="500" fill="hold"/>
                                        <p:tgtEl>
                                          <p:spTgt spid="92"/>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91"/>
                                        </p:tgtEl>
                                        <p:attrNameLst>
                                          <p:attrName>style.visibility</p:attrName>
                                        </p:attrNameLst>
                                      </p:cBhvr>
                                      <p:to>
                                        <p:strVal val="visible"/>
                                      </p:to>
                                    </p:set>
                                    <p:anim calcmode="lin" valueType="num">
                                      <p:cBhvr additive="base">
                                        <p:cTn id="19" dur="500" fill="hold"/>
                                        <p:tgtEl>
                                          <p:spTgt spid="91"/>
                                        </p:tgtEl>
                                        <p:attrNameLst>
                                          <p:attrName>ppt_x</p:attrName>
                                        </p:attrNameLst>
                                      </p:cBhvr>
                                      <p:tavLst>
                                        <p:tav tm="0">
                                          <p:val>
                                            <p:strVal val="#ppt_x"/>
                                          </p:val>
                                        </p:tav>
                                        <p:tav tm="100000">
                                          <p:val>
                                            <p:strVal val="#ppt_x"/>
                                          </p:val>
                                        </p:tav>
                                      </p:tavLst>
                                    </p:anim>
                                    <p:anim calcmode="lin" valueType="num">
                                      <p:cBhvr additive="base">
                                        <p:cTn id="20" dur="500" fill="hold"/>
                                        <p:tgtEl>
                                          <p:spTgt spid="91"/>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03"/>
                                        </p:tgtEl>
                                        <p:attrNameLst>
                                          <p:attrName>style.visibility</p:attrName>
                                        </p:attrNameLst>
                                      </p:cBhvr>
                                      <p:to>
                                        <p:strVal val="visible"/>
                                      </p:to>
                                    </p:set>
                                    <p:anim calcmode="lin" valueType="num">
                                      <p:cBhvr additive="base">
                                        <p:cTn id="25" dur="500" fill="hold"/>
                                        <p:tgtEl>
                                          <p:spTgt spid="103"/>
                                        </p:tgtEl>
                                        <p:attrNameLst>
                                          <p:attrName>ppt_x</p:attrName>
                                        </p:attrNameLst>
                                      </p:cBhvr>
                                      <p:tavLst>
                                        <p:tav tm="0">
                                          <p:val>
                                            <p:strVal val="#ppt_x"/>
                                          </p:val>
                                        </p:tav>
                                        <p:tav tm="100000">
                                          <p:val>
                                            <p:strVal val="#ppt_x"/>
                                          </p:val>
                                        </p:tav>
                                      </p:tavLst>
                                    </p:anim>
                                    <p:anim calcmode="lin" valueType="num">
                                      <p:cBhvr additive="base">
                                        <p:cTn id="26" dur="500" fill="hold"/>
                                        <p:tgtEl>
                                          <p:spTgt spid="103"/>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84"/>
                                        </p:tgtEl>
                                        <p:attrNameLst>
                                          <p:attrName>style.visibility</p:attrName>
                                        </p:attrNameLst>
                                      </p:cBhvr>
                                      <p:to>
                                        <p:strVal val="visible"/>
                                      </p:to>
                                    </p:set>
                                    <p:anim calcmode="lin" valueType="num">
                                      <p:cBhvr additive="base">
                                        <p:cTn id="29" dur="500" fill="hold"/>
                                        <p:tgtEl>
                                          <p:spTgt spid="84"/>
                                        </p:tgtEl>
                                        <p:attrNameLst>
                                          <p:attrName>ppt_x</p:attrName>
                                        </p:attrNameLst>
                                      </p:cBhvr>
                                      <p:tavLst>
                                        <p:tav tm="0">
                                          <p:val>
                                            <p:strVal val="#ppt_x"/>
                                          </p:val>
                                        </p:tav>
                                        <p:tav tm="100000">
                                          <p:val>
                                            <p:strVal val="#ppt_x"/>
                                          </p:val>
                                        </p:tav>
                                      </p:tavLst>
                                    </p:anim>
                                    <p:anim calcmode="lin" valueType="num">
                                      <p:cBhvr additive="base">
                                        <p:cTn id="30" dur="500" fill="hold"/>
                                        <p:tgtEl>
                                          <p:spTgt spid="84"/>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86"/>
                                        </p:tgtEl>
                                        <p:attrNameLst>
                                          <p:attrName>style.visibility</p:attrName>
                                        </p:attrNameLst>
                                      </p:cBhvr>
                                      <p:to>
                                        <p:strVal val="visible"/>
                                      </p:to>
                                    </p:set>
                                    <p:anim calcmode="lin" valueType="num">
                                      <p:cBhvr additive="base">
                                        <p:cTn id="33" dur="500" fill="hold"/>
                                        <p:tgtEl>
                                          <p:spTgt spid="86"/>
                                        </p:tgtEl>
                                        <p:attrNameLst>
                                          <p:attrName>ppt_x</p:attrName>
                                        </p:attrNameLst>
                                      </p:cBhvr>
                                      <p:tavLst>
                                        <p:tav tm="0">
                                          <p:val>
                                            <p:strVal val="#ppt_x"/>
                                          </p:val>
                                        </p:tav>
                                        <p:tav tm="100000">
                                          <p:val>
                                            <p:strVal val="#ppt_x"/>
                                          </p:val>
                                        </p:tav>
                                      </p:tavLst>
                                    </p:anim>
                                    <p:anim calcmode="lin" valueType="num">
                                      <p:cBhvr additive="base">
                                        <p:cTn id="34" dur="500" fill="hold"/>
                                        <p:tgtEl>
                                          <p:spTgt spid="86"/>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85"/>
                                        </p:tgtEl>
                                        <p:attrNameLst>
                                          <p:attrName>style.visibility</p:attrName>
                                        </p:attrNameLst>
                                      </p:cBhvr>
                                      <p:to>
                                        <p:strVal val="visible"/>
                                      </p:to>
                                    </p:set>
                                    <p:anim calcmode="lin" valueType="num">
                                      <p:cBhvr additive="base">
                                        <p:cTn id="37" dur="500" fill="hold"/>
                                        <p:tgtEl>
                                          <p:spTgt spid="85"/>
                                        </p:tgtEl>
                                        <p:attrNameLst>
                                          <p:attrName>ppt_x</p:attrName>
                                        </p:attrNameLst>
                                      </p:cBhvr>
                                      <p:tavLst>
                                        <p:tav tm="0">
                                          <p:val>
                                            <p:strVal val="#ppt_x"/>
                                          </p:val>
                                        </p:tav>
                                        <p:tav tm="100000">
                                          <p:val>
                                            <p:strVal val="#ppt_x"/>
                                          </p:val>
                                        </p:tav>
                                      </p:tavLst>
                                    </p:anim>
                                    <p:anim calcmode="lin" valueType="num">
                                      <p:cBhvr additive="base">
                                        <p:cTn id="38"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101"/>
                                        </p:tgtEl>
                                        <p:attrNameLst>
                                          <p:attrName>style.visibility</p:attrName>
                                        </p:attrNameLst>
                                      </p:cBhvr>
                                      <p:to>
                                        <p:strVal val="visible"/>
                                      </p:to>
                                    </p:set>
                                    <p:anim calcmode="lin" valueType="num">
                                      <p:cBhvr additive="base">
                                        <p:cTn id="43" dur="500" fill="hold"/>
                                        <p:tgtEl>
                                          <p:spTgt spid="101"/>
                                        </p:tgtEl>
                                        <p:attrNameLst>
                                          <p:attrName>ppt_x</p:attrName>
                                        </p:attrNameLst>
                                      </p:cBhvr>
                                      <p:tavLst>
                                        <p:tav tm="0">
                                          <p:val>
                                            <p:strVal val="#ppt_x"/>
                                          </p:val>
                                        </p:tav>
                                        <p:tav tm="100000">
                                          <p:val>
                                            <p:strVal val="#ppt_x"/>
                                          </p:val>
                                        </p:tav>
                                      </p:tavLst>
                                    </p:anim>
                                    <p:anim calcmode="lin" valueType="num">
                                      <p:cBhvr additive="base">
                                        <p:cTn id="44" dur="500" fill="hold"/>
                                        <p:tgtEl>
                                          <p:spTgt spid="101"/>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87"/>
                                        </p:tgtEl>
                                        <p:attrNameLst>
                                          <p:attrName>style.visibility</p:attrName>
                                        </p:attrNameLst>
                                      </p:cBhvr>
                                      <p:to>
                                        <p:strVal val="visible"/>
                                      </p:to>
                                    </p:set>
                                    <p:anim calcmode="lin" valueType="num">
                                      <p:cBhvr additive="base">
                                        <p:cTn id="47" dur="500" fill="hold"/>
                                        <p:tgtEl>
                                          <p:spTgt spid="87"/>
                                        </p:tgtEl>
                                        <p:attrNameLst>
                                          <p:attrName>ppt_x</p:attrName>
                                        </p:attrNameLst>
                                      </p:cBhvr>
                                      <p:tavLst>
                                        <p:tav tm="0">
                                          <p:val>
                                            <p:strVal val="#ppt_x"/>
                                          </p:val>
                                        </p:tav>
                                        <p:tav tm="100000">
                                          <p:val>
                                            <p:strVal val="#ppt_x"/>
                                          </p:val>
                                        </p:tav>
                                      </p:tavLst>
                                    </p:anim>
                                    <p:anim calcmode="lin" valueType="num">
                                      <p:cBhvr additive="base">
                                        <p:cTn id="48" dur="500" fill="hold"/>
                                        <p:tgtEl>
                                          <p:spTgt spid="87"/>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89"/>
                                        </p:tgtEl>
                                        <p:attrNameLst>
                                          <p:attrName>style.visibility</p:attrName>
                                        </p:attrNameLst>
                                      </p:cBhvr>
                                      <p:to>
                                        <p:strVal val="visible"/>
                                      </p:to>
                                    </p:set>
                                    <p:anim calcmode="lin" valueType="num">
                                      <p:cBhvr additive="base">
                                        <p:cTn id="51" dur="500" fill="hold"/>
                                        <p:tgtEl>
                                          <p:spTgt spid="89"/>
                                        </p:tgtEl>
                                        <p:attrNameLst>
                                          <p:attrName>ppt_x</p:attrName>
                                        </p:attrNameLst>
                                      </p:cBhvr>
                                      <p:tavLst>
                                        <p:tav tm="0">
                                          <p:val>
                                            <p:strVal val="#ppt_x"/>
                                          </p:val>
                                        </p:tav>
                                        <p:tav tm="100000">
                                          <p:val>
                                            <p:strVal val="#ppt_x"/>
                                          </p:val>
                                        </p:tav>
                                      </p:tavLst>
                                    </p:anim>
                                    <p:anim calcmode="lin" valueType="num">
                                      <p:cBhvr additive="base">
                                        <p:cTn id="52" dur="500" fill="hold"/>
                                        <p:tgtEl>
                                          <p:spTgt spid="89"/>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88"/>
                                        </p:tgtEl>
                                        <p:attrNameLst>
                                          <p:attrName>style.visibility</p:attrName>
                                        </p:attrNameLst>
                                      </p:cBhvr>
                                      <p:to>
                                        <p:strVal val="visible"/>
                                      </p:to>
                                    </p:set>
                                    <p:anim calcmode="lin" valueType="num">
                                      <p:cBhvr additive="base">
                                        <p:cTn id="55" dur="500" fill="hold"/>
                                        <p:tgtEl>
                                          <p:spTgt spid="88"/>
                                        </p:tgtEl>
                                        <p:attrNameLst>
                                          <p:attrName>ppt_x</p:attrName>
                                        </p:attrNameLst>
                                      </p:cBhvr>
                                      <p:tavLst>
                                        <p:tav tm="0">
                                          <p:val>
                                            <p:strVal val="#ppt_x"/>
                                          </p:val>
                                        </p:tav>
                                        <p:tav tm="100000">
                                          <p:val>
                                            <p:strVal val="#ppt_x"/>
                                          </p:val>
                                        </p:tav>
                                      </p:tavLst>
                                    </p:anim>
                                    <p:anim calcmode="lin" valueType="num">
                                      <p:cBhvr additive="base">
                                        <p:cTn id="56" dur="500" fill="hold"/>
                                        <p:tgtEl>
                                          <p:spTgt spid="88"/>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109"/>
                                        </p:tgtEl>
                                        <p:attrNameLst>
                                          <p:attrName>style.visibility</p:attrName>
                                        </p:attrNameLst>
                                      </p:cBhvr>
                                      <p:to>
                                        <p:strVal val="visible"/>
                                      </p:to>
                                    </p:set>
                                    <p:anim calcmode="lin" valueType="num">
                                      <p:cBhvr additive="base">
                                        <p:cTn id="61" dur="500" fill="hold"/>
                                        <p:tgtEl>
                                          <p:spTgt spid="109"/>
                                        </p:tgtEl>
                                        <p:attrNameLst>
                                          <p:attrName>ppt_x</p:attrName>
                                        </p:attrNameLst>
                                      </p:cBhvr>
                                      <p:tavLst>
                                        <p:tav tm="0">
                                          <p:val>
                                            <p:strVal val="#ppt_x"/>
                                          </p:val>
                                        </p:tav>
                                        <p:tav tm="100000">
                                          <p:val>
                                            <p:strVal val="#ppt_x"/>
                                          </p:val>
                                        </p:tav>
                                      </p:tavLst>
                                    </p:anim>
                                    <p:anim calcmode="lin" valueType="num">
                                      <p:cBhvr additive="base">
                                        <p:cTn id="62" dur="500" fill="hold"/>
                                        <p:tgtEl>
                                          <p:spTgt spid="109"/>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93"/>
                                        </p:tgtEl>
                                        <p:attrNameLst>
                                          <p:attrName>style.visibility</p:attrName>
                                        </p:attrNameLst>
                                      </p:cBhvr>
                                      <p:to>
                                        <p:strVal val="visible"/>
                                      </p:to>
                                    </p:set>
                                    <p:anim calcmode="lin" valueType="num">
                                      <p:cBhvr additive="base">
                                        <p:cTn id="65" dur="500" fill="hold"/>
                                        <p:tgtEl>
                                          <p:spTgt spid="93"/>
                                        </p:tgtEl>
                                        <p:attrNameLst>
                                          <p:attrName>ppt_x</p:attrName>
                                        </p:attrNameLst>
                                      </p:cBhvr>
                                      <p:tavLst>
                                        <p:tav tm="0">
                                          <p:val>
                                            <p:strVal val="#ppt_x"/>
                                          </p:val>
                                        </p:tav>
                                        <p:tav tm="100000">
                                          <p:val>
                                            <p:strVal val="#ppt_x"/>
                                          </p:val>
                                        </p:tav>
                                      </p:tavLst>
                                    </p:anim>
                                    <p:anim calcmode="lin" valueType="num">
                                      <p:cBhvr additive="base">
                                        <p:cTn id="66" dur="500" fill="hold"/>
                                        <p:tgtEl>
                                          <p:spTgt spid="93"/>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94"/>
                                        </p:tgtEl>
                                        <p:attrNameLst>
                                          <p:attrName>style.visibility</p:attrName>
                                        </p:attrNameLst>
                                      </p:cBhvr>
                                      <p:to>
                                        <p:strVal val="visible"/>
                                      </p:to>
                                    </p:set>
                                    <p:anim calcmode="lin" valueType="num">
                                      <p:cBhvr additive="base">
                                        <p:cTn id="69" dur="500" fill="hold"/>
                                        <p:tgtEl>
                                          <p:spTgt spid="94"/>
                                        </p:tgtEl>
                                        <p:attrNameLst>
                                          <p:attrName>ppt_x</p:attrName>
                                        </p:attrNameLst>
                                      </p:cBhvr>
                                      <p:tavLst>
                                        <p:tav tm="0">
                                          <p:val>
                                            <p:strVal val="#ppt_x"/>
                                          </p:val>
                                        </p:tav>
                                        <p:tav tm="100000">
                                          <p:val>
                                            <p:strVal val="#ppt_x"/>
                                          </p:val>
                                        </p:tav>
                                      </p:tavLst>
                                    </p:anim>
                                    <p:anim calcmode="lin" valueType="num">
                                      <p:cBhvr additive="base">
                                        <p:cTn id="70" dur="500" fill="hold"/>
                                        <p:tgtEl>
                                          <p:spTgt spid="94"/>
                                        </p:tgtEl>
                                        <p:attrNameLst>
                                          <p:attrName>ppt_y</p:attrName>
                                        </p:attrNameLst>
                                      </p:cBhvr>
                                      <p:tavLst>
                                        <p:tav tm="0">
                                          <p:val>
                                            <p:strVal val="1+#ppt_h/2"/>
                                          </p:val>
                                        </p:tav>
                                        <p:tav tm="100000">
                                          <p:val>
                                            <p:strVal val="#ppt_y"/>
                                          </p:val>
                                        </p:tav>
                                      </p:tavLst>
                                    </p:anim>
                                  </p:childTnLst>
                                </p:cTn>
                              </p:par>
                              <p:par>
                                <p:cTn id="71" presetID="2" presetClass="entr" presetSubtype="4" fill="hold" nodeType="withEffect">
                                  <p:stCondLst>
                                    <p:cond delay="0"/>
                                  </p:stCondLst>
                                  <p:childTnLst>
                                    <p:set>
                                      <p:cBhvr>
                                        <p:cTn id="72" dur="1" fill="hold">
                                          <p:stCondLst>
                                            <p:cond delay="0"/>
                                          </p:stCondLst>
                                        </p:cTn>
                                        <p:tgtEl>
                                          <p:spTgt spid="95"/>
                                        </p:tgtEl>
                                        <p:attrNameLst>
                                          <p:attrName>style.visibility</p:attrName>
                                        </p:attrNameLst>
                                      </p:cBhvr>
                                      <p:to>
                                        <p:strVal val="visible"/>
                                      </p:to>
                                    </p:set>
                                    <p:anim calcmode="lin" valueType="num">
                                      <p:cBhvr additive="base">
                                        <p:cTn id="73" dur="500" fill="hold"/>
                                        <p:tgtEl>
                                          <p:spTgt spid="95"/>
                                        </p:tgtEl>
                                        <p:attrNameLst>
                                          <p:attrName>ppt_x</p:attrName>
                                        </p:attrNameLst>
                                      </p:cBhvr>
                                      <p:tavLst>
                                        <p:tav tm="0">
                                          <p:val>
                                            <p:strVal val="#ppt_x"/>
                                          </p:val>
                                        </p:tav>
                                        <p:tav tm="100000">
                                          <p:val>
                                            <p:strVal val="#ppt_x"/>
                                          </p:val>
                                        </p:tav>
                                      </p:tavLst>
                                    </p:anim>
                                    <p:anim calcmode="lin" valueType="num">
                                      <p:cBhvr additive="base">
                                        <p:cTn id="74" dur="500" fill="hold"/>
                                        <p:tgtEl>
                                          <p:spTgt spid="9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p:bldP spid="85" grpId="0"/>
      <p:bldP spid="87" grpId="0"/>
      <p:bldP spid="88" grpId="0"/>
      <p:bldP spid="90" grpId="0"/>
      <p:bldP spid="91" grpId="0"/>
      <p:bldP spid="93" grpId="0"/>
      <p:bldP spid="94" grpId="0"/>
      <p:bldP spid="101" grpId="0" animBg="1"/>
      <p:bldP spid="102" grpId="0" animBg="1"/>
      <p:bldP spid="103" grpId="0" animBg="1"/>
      <p:bldP spid="10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4D94BD6-7357-4D00-B0BD-8995D355229E}"/>
              </a:ext>
            </a:extLst>
          </p:cNvPr>
          <p:cNvSpPr>
            <a:spLocks noGrp="1"/>
          </p:cNvSpPr>
          <p:nvPr>
            <p:ph type="title"/>
          </p:nvPr>
        </p:nvSpPr>
        <p:spPr/>
        <p:txBody>
          <a:bodyPr/>
          <a:lstStyle/>
          <a:p>
            <a:r>
              <a:rPr lang="en-US"/>
              <a:t>Biggest challenges with devices</a:t>
            </a:r>
          </a:p>
        </p:txBody>
      </p:sp>
      <p:sp>
        <p:nvSpPr>
          <p:cNvPr id="4" name="TextBox 3">
            <a:extLst>
              <a:ext uri="{FF2B5EF4-FFF2-40B4-BE49-F238E27FC236}">
                <a16:creationId xmlns:a16="http://schemas.microsoft.com/office/drawing/2014/main" id="{AFBC33CA-EA63-4D27-A69D-54F3F366BC2D}"/>
              </a:ext>
            </a:extLst>
          </p:cNvPr>
          <p:cNvSpPr txBox="1"/>
          <p:nvPr/>
        </p:nvSpPr>
        <p:spPr>
          <a:xfrm>
            <a:off x="1029660" y="4407971"/>
            <a:ext cx="3156527" cy="1206997"/>
          </a:xfrm>
          <a:prstGeom prst="rect">
            <a:avLst/>
          </a:prstGeom>
          <a:noFill/>
        </p:spPr>
        <p:txBody>
          <a:bodyPr wrap="square" lIns="0" tIns="0" rIns="0" bIns="0" rtlCol="0">
            <a:spAutoFit/>
          </a:bodyPr>
          <a:lstStyle/>
          <a:p>
            <a:pPr algn="ctr" defTabSz="914192"/>
            <a:r>
              <a:rPr lang="en-US" sz="1961" dirty="0">
                <a:latin typeface="Segoe UI"/>
              </a:rPr>
              <a:t>Developing and maintaining a connected, </a:t>
            </a:r>
          </a:p>
          <a:p>
            <a:pPr algn="ctr" defTabSz="914192"/>
            <a:r>
              <a:rPr lang="en-US" sz="1961" dirty="0">
                <a:latin typeface="Segoe UI"/>
              </a:rPr>
              <a:t>secure, serviceable and supportable device</a:t>
            </a:r>
          </a:p>
        </p:txBody>
      </p:sp>
      <p:sp>
        <p:nvSpPr>
          <p:cNvPr id="5" name="TextBox 4">
            <a:extLst>
              <a:ext uri="{FF2B5EF4-FFF2-40B4-BE49-F238E27FC236}">
                <a16:creationId xmlns:a16="http://schemas.microsoft.com/office/drawing/2014/main" id="{2A486805-70EA-4CFD-A201-C1624110CA05}"/>
              </a:ext>
            </a:extLst>
          </p:cNvPr>
          <p:cNvSpPr txBox="1"/>
          <p:nvPr/>
        </p:nvSpPr>
        <p:spPr>
          <a:xfrm>
            <a:off x="4647324" y="4407971"/>
            <a:ext cx="3156527" cy="603453"/>
          </a:xfrm>
          <a:prstGeom prst="rect">
            <a:avLst/>
          </a:prstGeom>
          <a:noFill/>
        </p:spPr>
        <p:txBody>
          <a:bodyPr wrap="square" lIns="0" tIns="0" rIns="0" bIns="0" rtlCol="0">
            <a:spAutoFit/>
          </a:bodyPr>
          <a:lstStyle/>
          <a:p>
            <a:pPr algn="ctr" defTabSz="914192"/>
            <a:r>
              <a:rPr lang="en-US" sz="1961">
                <a:latin typeface="Segoe UI"/>
              </a:rPr>
              <a:t>Integrating devices and their data into cloud services</a:t>
            </a:r>
          </a:p>
        </p:txBody>
      </p:sp>
      <p:sp>
        <p:nvSpPr>
          <p:cNvPr id="6" name="TextBox 5">
            <a:extLst>
              <a:ext uri="{FF2B5EF4-FFF2-40B4-BE49-F238E27FC236}">
                <a16:creationId xmlns:a16="http://schemas.microsoft.com/office/drawing/2014/main" id="{6592E97A-C818-4E40-9E4D-F035A2A6B301}"/>
              </a:ext>
            </a:extLst>
          </p:cNvPr>
          <p:cNvSpPr txBox="1"/>
          <p:nvPr/>
        </p:nvSpPr>
        <p:spPr>
          <a:xfrm>
            <a:off x="8319546" y="4407971"/>
            <a:ext cx="3156527" cy="603453"/>
          </a:xfrm>
          <a:prstGeom prst="rect">
            <a:avLst/>
          </a:prstGeom>
          <a:noFill/>
        </p:spPr>
        <p:txBody>
          <a:bodyPr wrap="square" lIns="0" tIns="0" rIns="0" bIns="0" rtlCol="0">
            <a:spAutoFit/>
          </a:bodyPr>
          <a:lstStyle/>
          <a:p>
            <a:pPr algn="ctr" defTabSz="914192"/>
            <a:r>
              <a:rPr lang="en-US" sz="1961">
                <a:latin typeface="Segoe UI"/>
              </a:rPr>
              <a:t>Out-of-the-box provisioning of devices at scale</a:t>
            </a:r>
          </a:p>
        </p:txBody>
      </p:sp>
      <p:sp>
        <p:nvSpPr>
          <p:cNvPr id="11" name="Oval 10">
            <a:extLst>
              <a:ext uri="{FF2B5EF4-FFF2-40B4-BE49-F238E27FC236}">
                <a16:creationId xmlns:a16="http://schemas.microsoft.com/office/drawing/2014/main" id="{20C385CB-FE15-4D9D-91FF-565C3FF8DA05}"/>
              </a:ext>
              <a:ext uri="{C183D7F6-B498-43B3-948B-1728B52AA6E4}">
                <adec:decorative xmlns:adec="http://schemas.microsoft.com/office/drawing/2017/decorative" val="1"/>
              </a:ext>
            </a:extLst>
          </p:cNvPr>
          <p:cNvSpPr/>
          <p:nvPr/>
        </p:nvSpPr>
        <p:spPr bwMode="auto">
          <a:xfrm>
            <a:off x="1636649" y="2082249"/>
            <a:ext cx="1942547" cy="1887813"/>
          </a:xfrm>
          <a:prstGeom prst="ellipse">
            <a:avLst/>
          </a:prstGeom>
          <a:solidFill>
            <a:srgbClr val="EBEBEB"/>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23" rIns="0" bIns="46623"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endParaRPr lang="en-US" sz="1600" b="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 name="Oval 12">
            <a:extLst>
              <a:ext uri="{FF2B5EF4-FFF2-40B4-BE49-F238E27FC236}">
                <a16:creationId xmlns:a16="http://schemas.microsoft.com/office/drawing/2014/main" id="{B1F757E7-AA58-4E7A-A8AF-4737BE5A4278}"/>
              </a:ext>
              <a:ext uri="{C183D7F6-B498-43B3-948B-1728B52AA6E4}">
                <adec:decorative xmlns:adec="http://schemas.microsoft.com/office/drawing/2017/decorative" val="1"/>
              </a:ext>
            </a:extLst>
          </p:cNvPr>
          <p:cNvSpPr/>
          <p:nvPr/>
        </p:nvSpPr>
        <p:spPr bwMode="auto">
          <a:xfrm>
            <a:off x="5124727" y="2082250"/>
            <a:ext cx="1942547" cy="1887813"/>
          </a:xfrm>
          <a:prstGeom prst="ellipse">
            <a:avLst/>
          </a:prstGeom>
          <a:solidFill>
            <a:srgbClr val="EBEBEB"/>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23" rIns="0" bIns="46623"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endParaRPr lang="en-US" sz="1600" b="1">
              <a:gradFill flip="none" rotWithShape="1">
                <a:gsLst>
                  <a:gs pos="0">
                    <a:srgbClr val="FFFFFF"/>
                  </a:gs>
                  <a:gs pos="100000">
                    <a:srgbClr val="FFFFFF"/>
                  </a:gs>
                </a:gsLst>
                <a:path path="shape">
                  <a:fillToRect l="50000" t="50000" r="50000" b="50000"/>
                </a:path>
                <a:tileRect/>
              </a:gradFill>
              <a:latin typeface="Segoe UI Semilight"/>
              <a:ea typeface="Segoe UI" pitchFamily="34" charset="0"/>
              <a:cs typeface="Segoe UI" pitchFamily="34" charset="0"/>
            </a:endParaRPr>
          </a:p>
        </p:txBody>
      </p:sp>
      <p:sp>
        <p:nvSpPr>
          <p:cNvPr id="14" name="Oval 13">
            <a:extLst>
              <a:ext uri="{FF2B5EF4-FFF2-40B4-BE49-F238E27FC236}">
                <a16:creationId xmlns:a16="http://schemas.microsoft.com/office/drawing/2014/main" id="{6372F940-6560-498F-9822-435CED3B8F65}"/>
              </a:ext>
              <a:ext uri="{C183D7F6-B498-43B3-948B-1728B52AA6E4}">
                <adec:decorative xmlns:adec="http://schemas.microsoft.com/office/drawing/2017/decorative" val="1"/>
              </a:ext>
            </a:extLst>
          </p:cNvPr>
          <p:cNvSpPr/>
          <p:nvPr/>
        </p:nvSpPr>
        <p:spPr bwMode="auto">
          <a:xfrm>
            <a:off x="8926535" y="2082250"/>
            <a:ext cx="1942547" cy="1887813"/>
          </a:xfrm>
          <a:prstGeom prst="ellipse">
            <a:avLst/>
          </a:prstGeom>
          <a:solidFill>
            <a:srgbClr val="EBEBEB"/>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23" rIns="0" bIns="46623"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endParaRPr lang="en-US" sz="1600" b="1">
              <a:gradFill flip="none" rotWithShape="1">
                <a:gsLst>
                  <a:gs pos="0">
                    <a:srgbClr val="FFFFFF"/>
                  </a:gs>
                  <a:gs pos="100000">
                    <a:srgbClr val="FFFFFF"/>
                  </a:gs>
                </a:gsLst>
                <a:path path="circle">
                  <a:fillToRect l="100000" t="100000"/>
                </a:path>
                <a:tileRect r="-100000" b="-100000"/>
              </a:gradFill>
              <a:latin typeface="Segoe UI Semilight"/>
              <a:ea typeface="Segoe UI" pitchFamily="34" charset="0"/>
              <a:cs typeface="Segoe UI" pitchFamily="34" charset="0"/>
            </a:endParaRPr>
          </a:p>
        </p:txBody>
      </p:sp>
      <p:pic>
        <p:nvPicPr>
          <p:cNvPr id="10" name="Picture 9">
            <a:extLst>
              <a:ext uri="{FF2B5EF4-FFF2-40B4-BE49-F238E27FC236}">
                <a16:creationId xmlns:a16="http://schemas.microsoft.com/office/drawing/2014/main" id="{C0EBF9AD-5ED4-4F4A-B613-F93660982B51}"/>
              </a:ext>
            </a:extLst>
          </p:cNvPr>
          <p:cNvPicPr>
            <a:picLocks noChangeAspect="1"/>
          </p:cNvPicPr>
          <p:nvPr/>
        </p:nvPicPr>
        <p:blipFill>
          <a:blip r:embed="rId3"/>
          <a:stretch>
            <a:fillRect/>
          </a:stretch>
        </p:blipFill>
        <p:spPr>
          <a:xfrm>
            <a:off x="9427358" y="2555705"/>
            <a:ext cx="940902" cy="940902"/>
          </a:xfrm>
          <a:prstGeom prst="rect">
            <a:avLst/>
          </a:prstGeom>
        </p:spPr>
      </p:pic>
      <p:pic>
        <p:nvPicPr>
          <p:cNvPr id="15" name="Picture 14">
            <a:extLst>
              <a:ext uri="{FF2B5EF4-FFF2-40B4-BE49-F238E27FC236}">
                <a16:creationId xmlns:a16="http://schemas.microsoft.com/office/drawing/2014/main" id="{DB0A4387-BE8E-4749-9FC7-81CDAE643311}"/>
              </a:ext>
            </a:extLst>
          </p:cNvPr>
          <p:cNvPicPr>
            <a:picLocks noChangeAspect="1"/>
          </p:cNvPicPr>
          <p:nvPr/>
        </p:nvPicPr>
        <p:blipFill>
          <a:blip r:embed="rId4"/>
          <a:stretch>
            <a:fillRect/>
          </a:stretch>
        </p:blipFill>
        <p:spPr>
          <a:xfrm>
            <a:off x="5562012" y="2485514"/>
            <a:ext cx="1067977" cy="1069563"/>
          </a:xfrm>
          <a:prstGeom prst="rect">
            <a:avLst/>
          </a:prstGeom>
        </p:spPr>
      </p:pic>
      <p:pic>
        <p:nvPicPr>
          <p:cNvPr id="17" name="Picture 16">
            <a:extLst>
              <a:ext uri="{FF2B5EF4-FFF2-40B4-BE49-F238E27FC236}">
                <a16:creationId xmlns:a16="http://schemas.microsoft.com/office/drawing/2014/main" id="{E8DB8362-05CA-430F-A0DB-9EB77EC793E6}"/>
              </a:ext>
            </a:extLst>
          </p:cNvPr>
          <p:cNvPicPr>
            <a:picLocks noChangeAspect="1"/>
          </p:cNvPicPr>
          <p:nvPr/>
        </p:nvPicPr>
        <p:blipFill>
          <a:blip r:embed="rId5"/>
          <a:stretch>
            <a:fillRect/>
          </a:stretch>
        </p:blipFill>
        <p:spPr>
          <a:xfrm>
            <a:off x="2097938" y="2473998"/>
            <a:ext cx="1019969" cy="1019969"/>
          </a:xfrm>
          <a:prstGeom prst="rect">
            <a:avLst/>
          </a:prstGeom>
        </p:spPr>
      </p:pic>
      <p:sp>
        <p:nvSpPr>
          <p:cNvPr id="2" name="Rectangle 1">
            <a:extLst>
              <a:ext uri="{FF2B5EF4-FFF2-40B4-BE49-F238E27FC236}">
                <a16:creationId xmlns:a16="http://schemas.microsoft.com/office/drawing/2014/main" id="{4E9ADD9A-4179-4E4E-A0B5-3B212D80515A}"/>
              </a:ext>
            </a:extLst>
          </p:cNvPr>
          <p:cNvSpPr/>
          <p:nvPr/>
        </p:nvSpPr>
        <p:spPr>
          <a:xfrm>
            <a:off x="4231260" y="1874417"/>
            <a:ext cx="3774557" cy="3388005"/>
          </a:xfrm>
          <a:prstGeom prst="rect">
            <a:avLst/>
          </a:prstGeom>
          <a:solidFill>
            <a:schemeClr val="bg1">
              <a:alpha val="69804"/>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400" dirty="0">
                <a:solidFill>
                  <a:schemeClr val="tx1"/>
                </a:solidFill>
              </a:rPr>
              <a:t>IoT Hub</a:t>
            </a:r>
          </a:p>
          <a:p>
            <a:pPr algn="ctr"/>
            <a:endParaRPr lang="en-US" sz="2400" dirty="0">
              <a:solidFill>
                <a:schemeClr val="tx1"/>
              </a:solidFill>
            </a:endParaRPr>
          </a:p>
          <a:p>
            <a:pPr algn="ctr"/>
            <a:endParaRPr lang="en-US" sz="2400" dirty="0">
              <a:solidFill>
                <a:schemeClr val="tx1"/>
              </a:solidFill>
            </a:endParaRPr>
          </a:p>
          <a:p>
            <a:pPr algn="ctr"/>
            <a:endParaRPr lang="en-US" sz="2400" dirty="0">
              <a:solidFill>
                <a:schemeClr val="tx1"/>
              </a:solidFill>
            </a:endParaRPr>
          </a:p>
        </p:txBody>
      </p:sp>
      <p:sp>
        <p:nvSpPr>
          <p:cNvPr id="19" name="Rectangle 18">
            <a:extLst>
              <a:ext uri="{FF2B5EF4-FFF2-40B4-BE49-F238E27FC236}">
                <a16:creationId xmlns:a16="http://schemas.microsoft.com/office/drawing/2014/main" id="{A039CE1D-45FB-40A8-A860-155D7253D87D}"/>
              </a:ext>
            </a:extLst>
          </p:cNvPr>
          <p:cNvSpPr/>
          <p:nvPr/>
        </p:nvSpPr>
        <p:spPr>
          <a:xfrm>
            <a:off x="715928" y="1945741"/>
            <a:ext cx="3774557" cy="4072070"/>
          </a:xfrm>
          <a:prstGeom prst="rect">
            <a:avLst/>
          </a:prstGeom>
          <a:solidFill>
            <a:schemeClr val="bg1">
              <a:alpha val="69804"/>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400" dirty="0">
                <a:solidFill>
                  <a:schemeClr val="tx1"/>
                </a:solidFill>
              </a:rPr>
              <a:t>Open source SDKs</a:t>
            </a:r>
          </a:p>
          <a:p>
            <a:pPr algn="ctr"/>
            <a:endParaRPr lang="en-US" sz="2400" dirty="0">
              <a:solidFill>
                <a:schemeClr val="tx1"/>
              </a:solidFill>
            </a:endParaRPr>
          </a:p>
          <a:p>
            <a:pPr algn="ctr"/>
            <a:endParaRPr lang="en-US" sz="2400" dirty="0">
              <a:solidFill>
                <a:schemeClr val="tx1"/>
              </a:solidFill>
            </a:endParaRPr>
          </a:p>
          <a:p>
            <a:pPr algn="ctr"/>
            <a:endParaRPr lang="en-US" sz="2400" dirty="0">
              <a:solidFill>
                <a:schemeClr val="tx1"/>
              </a:solidFill>
            </a:endParaRPr>
          </a:p>
          <a:p>
            <a:pPr algn="ctr"/>
            <a:endParaRPr lang="en-US" sz="2400" dirty="0">
              <a:solidFill>
                <a:schemeClr val="tx1"/>
              </a:solidFill>
            </a:endParaRPr>
          </a:p>
          <a:p>
            <a:pPr algn="ctr"/>
            <a:endParaRPr lang="en-US" sz="2400" dirty="0">
              <a:solidFill>
                <a:schemeClr val="tx1"/>
              </a:solidFill>
            </a:endParaRPr>
          </a:p>
        </p:txBody>
      </p:sp>
      <p:sp>
        <p:nvSpPr>
          <p:cNvPr id="16" name="Rectangle 15">
            <a:extLst>
              <a:ext uri="{FF2B5EF4-FFF2-40B4-BE49-F238E27FC236}">
                <a16:creationId xmlns:a16="http://schemas.microsoft.com/office/drawing/2014/main" id="{39A879EE-F214-4A78-B89A-1E8470DB9078}"/>
              </a:ext>
            </a:extLst>
          </p:cNvPr>
          <p:cNvSpPr/>
          <p:nvPr/>
        </p:nvSpPr>
        <p:spPr>
          <a:xfrm>
            <a:off x="7987104" y="1850578"/>
            <a:ext cx="3774557" cy="3388005"/>
          </a:xfrm>
          <a:prstGeom prst="rect">
            <a:avLst/>
          </a:prstGeom>
          <a:solidFill>
            <a:schemeClr val="bg1">
              <a:alpha val="69804"/>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400" dirty="0">
                <a:solidFill>
                  <a:schemeClr val="tx1"/>
                </a:solidFill>
              </a:rPr>
              <a:t>Device Provisioning Service</a:t>
            </a:r>
          </a:p>
          <a:p>
            <a:pPr algn="ctr"/>
            <a:endParaRPr lang="en-US" sz="2400" dirty="0">
              <a:solidFill>
                <a:schemeClr val="tx1"/>
              </a:solidFill>
            </a:endParaRPr>
          </a:p>
          <a:p>
            <a:pPr algn="ctr"/>
            <a:endParaRPr lang="en-US" sz="2400" dirty="0">
              <a:solidFill>
                <a:schemeClr val="tx1"/>
              </a:solidFill>
            </a:endParaRPr>
          </a:p>
        </p:txBody>
      </p:sp>
      <p:sp>
        <p:nvSpPr>
          <p:cNvPr id="7" name="TextBox 6">
            <a:extLst>
              <a:ext uri="{FF2B5EF4-FFF2-40B4-BE49-F238E27FC236}">
                <a16:creationId xmlns:a16="http://schemas.microsoft.com/office/drawing/2014/main" id="{AE8DE88E-13D6-4DDD-81AB-F96E837E4421}"/>
              </a:ext>
            </a:extLst>
          </p:cNvPr>
          <p:cNvSpPr txBox="1"/>
          <p:nvPr/>
        </p:nvSpPr>
        <p:spPr>
          <a:xfrm>
            <a:off x="956733" y="5956196"/>
            <a:ext cx="10279994" cy="492443"/>
          </a:xfrm>
          <a:prstGeom prst="rect">
            <a:avLst/>
          </a:prstGeom>
        </p:spPr>
        <p:txBody>
          <a:bodyPr wrap="none" lIns="0" tIns="0" rIns="0" bIns="0" rtlCol="0" anchor="t" anchorCtr="0">
            <a:spAutoFit/>
          </a:bodyPr>
          <a:lstStyle/>
          <a:p>
            <a:r>
              <a:rPr lang="en-US" sz="3200" dirty="0"/>
              <a:t>But what about device management over the long-term?</a:t>
            </a:r>
          </a:p>
        </p:txBody>
      </p:sp>
    </p:spTree>
    <p:extLst>
      <p:ext uri="{BB962C8B-B14F-4D97-AF65-F5344CB8AC3E}">
        <p14:creationId xmlns:p14="http://schemas.microsoft.com/office/powerpoint/2010/main" val="351647054"/>
      </p:ext>
    </p:extLst>
  </p:cSld>
  <p:clrMapOvr>
    <a:masterClrMapping/>
  </p:clrMapOvr>
  <p:transition advClick="0" advTm="20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9" grpId="0" animBg="1"/>
      <p:bldP spid="16" grpId="0" animBg="1"/>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41D120B1-B38F-4A76-967F-FE7686EC1290}"/>
              </a:ext>
            </a:extLst>
          </p:cNvPr>
          <p:cNvSpPr/>
          <p:nvPr/>
        </p:nvSpPr>
        <p:spPr bwMode="auto">
          <a:xfrm>
            <a:off x="-1" y="0"/>
            <a:ext cx="12436476" cy="6858000"/>
          </a:xfrm>
          <a:prstGeom prst="ellipse">
            <a:avLst/>
          </a:prstGeom>
          <a:gradFill flip="none" rotWithShape="1">
            <a:gsLst>
              <a:gs pos="0">
                <a:srgbClr val="0078D3">
                  <a:lumMod val="50000"/>
                  <a:alpha val="80000"/>
                </a:srgbClr>
              </a:gs>
              <a:gs pos="90000">
                <a:srgbClr val="000000">
                  <a:alpha val="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19EB29F2-400A-4BAF-AB82-62574E32BD56}"/>
              </a:ext>
            </a:extLst>
          </p:cNvPr>
          <p:cNvSpPr>
            <a:spLocks noGrp="1"/>
          </p:cNvSpPr>
          <p:nvPr>
            <p:ph type="title"/>
          </p:nvPr>
        </p:nvSpPr>
        <p:spPr/>
        <p:txBody>
          <a:bodyPr/>
          <a:lstStyle/>
          <a:p>
            <a:r>
              <a:rPr lang="en-US" dirty="0"/>
              <a:t>IoT Device Management Lifecycle</a:t>
            </a:r>
          </a:p>
        </p:txBody>
      </p:sp>
      <p:sp>
        <p:nvSpPr>
          <p:cNvPr id="3" name="Footer Placeholder 2">
            <a:extLst>
              <a:ext uri="{FF2B5EF4-FFF2-40B4-BE49-F238E27FC236}">
                <a16:creationId xmlns:a16="http://schemas.microsoft.com/office/drawing/2014/main" id="{882808B9-190A-48DD-A4C9-831C4803B3EE}"/>
              </a:ext>
            </a:extLst>
          </p:cNvPr>
          <p:cNvSpPr>
            <a:spLocks noGrp="1"/>
          </p:cNvSpPr>
          <p:nvPr>
            <p:ph type="ftr" sz="quarter" idx="4294967295"/>
          </p:nvPr>
        </p:nvSpPr>
        <p:spPr>
          <a:xfrm>
            <a:off x="371475" y="6578600"/>
            <a:ext cx="11820525" cy="120650"/>
          </a:xfrm>
          <a:prstGeom prst="rect">
            <a:avLst/>
          </a:prstGeom>
        </p:spPr>
        <p:txBody>
          <a:bodyPr vert="horz" lIns="91440" tIns="45720" rIns="91440" bIns="45720" numCol="2" rtlCol="0" anchor="ctr"/>
          <a:lstStyle>
            <a:defPPr>
              <a:defRPr lang="en-US"/>
            </a:defPPr>
            <a:lvl1pPr marL="0" algn="l" defTabSz="932742" rtl="0" eaLnBrk="1" latinLnBrk="0" hangingPunct="1">
              <a:defRPr sz="7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a:solidFill>
                  <a:schemeClr val="bg1">
                    <a:lumMod val="65000"/>
                  </a:schemeClr>
                </a:solidFill>
              </a:rPr>
              <a:t>© Microsoft Corporation                                                                                  								</a:t>
            </a:r>
          </a:p>
        </p:txBody>
      </p:sp>
      <p:sp>
        <p:nvSpPr>
          <p:cNvPr id="51" name="Partial Circle 4">
            <a:extLst>
              <a:ext uri="{FF2B5EF4-FFF2-40B4-BE49-F238E27FC236}">
                <a16:creationId xmlns:a16="http://schemas.microsoft.com/office/drawing/2014/main" id="{8C101A7A-E78F-445D-A61A-83A23702EDCD}"/>
              </a:ext>
            </a:extLst>
          </p:cNvPr>
          <p:cNvSpPr txBox="1"/>
          <p:nvPr/>
        </p:nvSpPr>
        <p:spPr>
          <a:xfrm>
            <a:off x="6631818" y="2219324"/>
            <a:ext cx="523255" cy="244426"/>
          </a:xfrm>
          <a:prstGeom prst="rect">
            <a:avLst/>
          </a:prstGeom>
          <a:noFill/>
          <a:ln>
            <a:noFill/>
          </a:ln>
          <a:effectLst/>
        </p:spPr>
        <p:txBody>
          <a:bodyPr spcFirstLastPara="0" vert="horz" wrap="square" lIns="0" tIns="0" rIns="0" bIns="0" numCol="1" spcCol="1270" anchor="ctr" anchorCtr="0">
            <a:spAutoFit/>
          </a:bodyPr>
          <a:lstStyle/>
          <a:p>
            <a:pPr algn="ctr" defTabSz="871387">
              <a:lnSpc>
                <a:spcPct val="90000"/>
              </a:lnSpc>
              <a:spcBef>
                <a:spcPct val="0"/>
              </a:spcBef>
              <a:spcAft>
                <a:spcPct val="35000"/>
              </a:spcAft>
              <a:defRPr/>
            </a:pPr>
            <a:r>
              <a:rPr lang="en-US" sz="1765" kern="0" dirty="0">
                <a:solidFill>
                  <a:srgbClr val="0078D4"/>
                </a:solidFill>
                <a:latin typeface="Segoe UI Semibold" panose="020B0702040204020203" pitchFamily="34" charset="0"/>
                <a:cs typeface="Segoe UI Semibold" panose="020B0702040204020203" pitchFamily="34" charset="0"/>
              </a:rPr>
              <a:t>Plan</a:t>
            </a:r>
          </a:p>
        </p:txBody>
      </p:sp>
      <p:sp>
        <p:nvSpPr>
          <p:cNvPr id="52" name="Partial Circle 6">
            <a:extLst>
              <a:ext uri="{FF2B5EF4-FFF2-40B4-BE49-F238E27FC236}">
                <a16:creationId xmlns:a16="http://schemas.microsoft.com/office/drawing/2014/main" id="{DEF7AD83-4638-4FFF-8397-A6EFDC223C88}"/>
              </a:ext>
            </a:extLst>
          </p:cNvPr>
          <p:cNvSpPr txBox="1"/>
          <p:nvPr/>
        </p:nvSpPr>
        <p:spPr>
          <a:xfrm>
            <a:off x="6488863" y="3851190"/>
            <a:ext cx="1079206" cy="244426"/>
          </a:xfrm>
          <a:prstGeom prst="rect">
            <a:avLst/>
          </a:prstGeom>
          <a:noFill/>
          <a:ln>
            <a:noFill/>
          </a:ln>
          <a:effectLst/>
        </p:spPr>
        <p:txBody>
          <a:bodyPr spcFirstLastPara="0" vert="horz" wrap="square" lIns="0" tIns="0" rIns="0" bIns="0" numCol="1" spcCol="1270" anchor="ctr" anchorCtr="0">
            <a:spAutoFit/>
          </a:bodyPr>
          <a:lstStyle/>
          <a:p>
            <a:pPr algn="ctr" defTabSz="871387">
              <a:lnSpc>
                <a:spcPct val="90000"/>
              </a:lnSpc>
              <a:spcBef>
                <a:spcPct val="0"/>
              </a:spcBef>
              <a:spcAft>
                <a:spcPct val="35000"/>
              </a:spcAft>
              <a:defRPr/>
            </a:pPr>
            <a:r>
              <a:rPr lang="en-US" sz="1765" kern="0" dirty="0">
                <a:solidFill>
                  <a:srgbClr val="50E6FF">
                    <a:lumMod val="75000"/>
                  </a:srgbClr>
                </a:solidFill>
                <a:latin typeface="Segoe UI Semibold" panose="020B0702040204020203" pitchFamily="34" charset="0"/>
                <a:cs typeface="Segoe UI Semibold" panose="020B0702040204020203" pitchFamily="34" charset="0"/>
              </a:rPr>
              <a:t>Provision</a:t>
            </a:r>
          </a:p>
        </p:txBody>
      </p:sp>
      <p:sp>
        <p:nvSpPr>
          <p:cNvPr id="53" name="Partial Circle 8">
            <a:extLst>
              <a:ext uri="{FF2B5EF4-FFF2-40B4-BE49-F238E27FC236}">
                <a16:creationId xmlns:a16="http://schemas.microsoft.com/office/drawing/2014/main" id="{F5143083-1B82-4FD3-921E-335E6CDEE85C}"/>
              </a:ext>
            </a:extLst>
          </p:cNvPr>
          <p:cNvSpPr txBox="1"/>
          <p:nvPr/>
        </p:nvSpPr>
        <p:spPr>
          <a:xfrm>
            <a:off x="5569321" y="4816103"/>
            <a:ext cx="1034486" cy="244426"/>
          </a:xfrm>
          <a:prstGeom prst="rect">
            <a:avLst/>
          </a:prstGeom>
          <a:noFill/>
          <a:ln>
            <a:noFill/>
          </a:ln>
          <a:effectLst/>
        </p:spPr>
        <p:txBody>
          <a:bodyPr spcFirstLastPara="0" vert="horz" wrap="square" lIns="0" tIns="0" rIns="0" bIns="0" numCol="1" spcCol="1270" anchor="ctr" anchorCtr="0">
            <a:spAutoFit/>
          </a:bodyPr>
          <a:lstStyle/>
          <a:p>
            <a:pPr algn="ctr" defTabSz="871387">
              <a:lnSpc>
                <a:spcPct val="90000"/>
              </a:lnSpc>
              <a:spcBef>
                <a:spcPct val="0"/>
              </a:spcBef>
              <a:spcAft>
                <a:spcPct val="35000"/>
              </a:spcAft>
              <a:defRPr/>
            </a:pPr>
            <a:r>
              <a:rPr lang="en-US" sz="1765" kern="0" dirty="0">
                <a:solidFill>
                  <a:srgbClr val="7030A0"/>
                </a:solidFill>
                <a:latin typeface="Segoe UI Semibold" panose="020B0702040204020203" pitchFamily="34" charset="0"/>
                <a:cs typeface="Segoe UI Semibold" panose="020B0702040204020203" pitchFamily="34" charset="0"/>
              </a:rPr>
              <a:t>Configure</a:t>
            </a:r>
          </a:p>
        </p:txBody>
      </p:sp>
      <p:sp>
        <p:nvSpPr>
          <p:cNvPr id="54" name="Partial Circle 10">
            <a:extLst>
              <a:ext uri="{FF2B5EF4-FFF2-40B4-BE49-F238E27FC236}">
                <a16:creationId xmlns:a16="http://schemas.microsoft.com/office/drawing/2014/main" id="{8EEE3382-9D02-4718-B7C7-54147879AE84}"/>
              </a:ext>
            </a:extLst>
          </p:cNvPr>
          <p:cNvSpPr txBox="1"/>
          <p:nvPr/>
        </p:nvSpPr>
        <p:spPr>
          <a:xfrm>
            <a:off x="4647612" y="3851203"/>
            <a:ext cx="843891" cy="244398"/>
          </a:xfrm>
          <a:prstGeom prst="rect">
            <a:avLst/>
          </a:prstGeom>
          <a:noFill/>
          <a:ln>
            <a:noFill/>
          </a:ln>
          <a:effectLst/>
        </p:spPr>
        <p:txBody>
          <a:bodyPr spcFirstLastPara="0" vert="horz" wrap="square" lIns="0" tIns="0" rIns="0" bIns="0" numCol="1" spcCol="1270" anchor="ctr" anchorCtr="0">
            <a:spAutoFit/>
          </a:bodyPr>
          <a:lstStyle/>
          <a:p>
            <a:pPr algn="ctr" defTabSz="871387">
              <a:lnSpc>
                <a:spcPct val="90000"/>
              </a:lnSpc>
              <a:spcBef>
                <a:spcPct val="0"/>
              </a:spcBef>
              <a:spcAft>
                <a:spcPct val="35000"/>
              </a:spcAft>
              <a:defRPr/>
            </a:pPr>
            <a:r>
              <a:rPr lang="en-US" sz="1765" kern="0" dirty="0">
                <a:solidFill>
                  <a:srgbClr val="00B050"/>
                </a:solidFill>
                <a:latin typeface="Segoe UI Semibold" panose="020B0702040204020203" pitchFamily="34" charset="0"/>
                <a:cs typeface="Segoe UI Semibold" panose="020B0702040204020203" pitchFamily="34" charset="0"/>
              </a:rPr>
              <a:t>Monitor</a:t>
            </a:r>
          </a:p>
        </p:txBody>
      </p:sp>
      <p:sp>
        <p:nvSpPr>
          <p:cNvPr id="55" name="Partial Circle 12">
            <a:extLst>
              <a:ext uri="{FF2B5EF4-FFF2-40B4-BE49-F238E27FC236}">
                <a16:creationId xmlns:a16="http://schemas.microsoft.com/office/drawing/2014/main" id="{F8EF66E4-57DB-46BC-A224-A3EED55D2AB2}"/>
              </a:ext>
            </a:extLst>
          </p:cNvPr>
          <p:cNvSpPr txBox="1"/>
          <p:nvPr/>
        </p:nvSpPr>
        <p:spPr>
          <a:xfrm>
            <a:off x="5060039" y="2219336"/>
            <a:ext cx="816059" cy="244398"/>
          </a:xfrm>
          <a:prstGeom prst="rect">
            <a:avLst/>
          </a:prstGeom>
          <a:noFill/>
          <a:ln>
            <a:noFill/>
          </a:ln>
          <a:effectLst/>
        </p:spPr>
        <p:txBody>
          <a:bodyPr spcFirstLastPara="0" vert="horz" wrap="square" lIns="0" tIns="0" rIns="0" bIns="0" numCol="1" spcCol="1270" anchor="ctr" anchorCtr="0">
            <a:spAutoFit/>
          </a:bodyPr>
          <a:lstStyle/>
          <a:p>
            <a:pPr algn="ctr" defTabSz="871387">
              <a:lnSpc>
                <a:spcPct val="90000"/>
              </a:lnSpc>
              <a:spcBef>
                <a:spcPct val="0"/>
              </a:spcBef>
              <a:spcAft>
                <a:spcPct val="35000"/>
              </a:spcAft>
              <a:defRPr/>
            </a:pPr>
            <a:r>
              <a:rPr lang="en-US" sz="1765" kern="0" dirty="0">
                <a:solidFill>
                  <a:srgbClr val="FFC000"/>
                </a:solidFill>
                <a:latin typeface="Segoe UI Semibold" panose="020B0702040204020203" pitchFamily="34" charset="0"/>
                <a:cs typeface="Segoe UI Semibold" panose="020B0702040204020203" pitchFamily="34" charset="0"/>
              </a:rPr>
              <a:t>Retire</a:t>
            </a:r>
          </a:p>
        </p:txBody>
      </p:sp>
      <p:grpSp>
        <p:nvGrpSpPr>
          <p:cNvPr id="56" name="Group 55">
            <a:extLst>
              <a:ext uri="{FF2B5EF4-FFF2-40B4-BE49-F238E27FC236}">
                <a16:creationId xmlns:a16="http://schemas.microsoft.com/office/drawing/2014/main" id="{0E4D2D33-1CED-43F0-860F-F1710EB914DA}"/>
              </a:ext>
            </a:extLst>
          </p:cNvPr>
          <p:cNvGrpSpPr/>
          <p:nvPr/>
        </p:nvGrpSpPr>
        <p:grpSpPr>
          <a:xfrm>
            <a:off x="1762148" y="1643580"/>
            <a:ext cx="2824272" cy="537778"/>
            <a:chOff x="1796853" y="2033740"/>
            <a:chExt cx="2881314" cy="548640"/>
          </a:xfrm>
        </p:grpSpPr>
        <p:sp>
          <p:nvSpPr>
            <p:cNvPr id="57" name="Rectangle 56">
              <a:extLst>
                <a:ext uri="{FF2B5EF4-FFF2-40B4-BE49-F238E27FC236}">
                  <a16:creationId xmlns:a16="http://schemas.microsoft.com/office/drawing/2014/main" id="{1116316B-90AD-4732-AEDF-704491D780E2}"/>
                </a:ext>
              </a:extLst>
            </p:cNvPr>
            <p:cNvSpPr/>
            <p:nvPr/>
          </p:nvSpPr>
          <p:spPr>
            <a:xfrm>
              <a:off x="1796853" y="2058761"/>
              <a:ext cx="2234458" cy="498072"/>
            </a:xfrm>
            <a:prstGeom prst="rect">
              <a:avLst/>
            </a:prstGeom>
          </p:spPr>
          <p:txBody>
            <a:bodyPr wrap="square" lIns="0" tIns="0" rIns="0" bIns="0" anchor="t">
              <a:spAutoFit/>
            </a:bodyPr>
            <a:lstStyle/>
            <a:p>
              <a:pPr algn="r" defTabSz="854230">
                <a:lnSpc>
                  <a:spcPct val="90000"/>
                </a:lnSpc>
                <a:spcBef>
                  <a:spcPct val="0"/>
                </a:spcBef>
                <a:spcAft>
                  <a:spcPct val="35000"/>
                </a:spcAft>
                <a:defRPr/>
              </a:pPr>
              <a:r>
                <a:rPr lang="en-US" sz="1175" kern="0" dirty="0">
                  <a:solidFill>
                    <a:srgbClr val="FFC000"/>
                  </a:solidFill>
                  <a:cs typeface="Segoe UI" panose="020B0502040204020203" pitchFamily="34" charset="0"/>
                </a:rPr>
                <a:t>Replace or decommission devices after failure, upgrade cycle or service lifetime</a:t>
              </a:r>
            </a:p>
          </p:txBody>
        </p:sp>
        <p:grpSp>
          <p:nvGrpSpPr>
            <p:cNvPr id="58" name="Group 57">
              <a:extLst>
                <a:ext uri="{FF2B5EF4-FFF2-40B4-BE49-F238E27FC236}">
                  <a16:creationId xmlns:a16="http://schemas.microsoft.com/office/drawing/2014/main" id="{137C63D3-B5EB-4790-96B4-487DF32101E7}"/>
                </a:ext>
              </a:extLst>
            </p:cNvPr>
            <p:cNvGrpSpPr/>
            <p:nvPr/>
          </p:nvGrpSpPr>
          <p:grpSpPr>
            <a:xfrm>
              <a:off x="4129527" y="2033740"/>
              <a:ext cx="548640" cy="548640"/>
              <a:chOff x="2677207" y="2283429"/>
              <a:chExt cx="731520" cy="731520"/>
            </a:xfrm>
          </p:grpSpPr>
          <p:sp>
            <p:nvSpPr>
              <p:cNvPr id="59" name="Oval 58">
                <a:extLst>
                  <a:ext uri="{FF2B5EF4-FFF2-40B4-BE49-F238E27FC236}">
                    <a16:creationId xmlns:a16="http://schemas.microsoft.com/office/drawing/2014/main" id="{D32BD5F0-9613-436E-95D1-756355E234E6}"/>
                  </a:ext>
                </a:extLst>
              </p:cNvPr>
              <p:cNvSpPr>
                <a:spLocks noChangeAspect="1"/>
              </p:cNvSpPr>
              <p:nvPr/>
            </p:nvSpPr>
            <p:spPr bwMode="auto">
              <a:xfrm>
                <a:off x="2677207" y="2283429"/>
                <a:ext cx="731520" cy="731520"/>
              </a:xfrm>
              <a:prstGeom prst="ellipse">
                <a:avLst/>
              </a:prstGeom>
              <a:solidFill>
                <a:srgbClr val="FFC000"/>
              </a:solidFill>
              <a:ln w="19050"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plug" title="Icon of a power plug showing an A to B connection">
                <a:extLst>
                  <a:ext uri="{FF2B5EF4-FFF2-40B4-BE49-F238E27FC236}">
                    <a16:creationId xmlns:a16="http://schemas.microsoft.com/office/drawing/2014/main" id="{2B5D03B5-7738-4948-ACC0-656D629A9A8F}"/>
                  </a:ext>
                </a:extLst>
              </p:cNvPr>
              <p:cNvSpPr>
                <a:spLocks noChangeAspect="1" noEditPoints="1"/>
              </p:cNvSpPr>
              <p:nvPr/>
            </p:nvSpPr>
            <p:spPr bwMode="auto">
              <a:xfrm>
                <a:off x="2850032" y="2466309"/>
                <a:ext cx="385870" cy="365760"/>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1" tIns="44814" rIns="89631" bIns="44814" numCol="1" anchor="t" anchorCtr="0" compatLnSpc="1">
                <a:prstTxWarp prst="textNoShape">
                  <a:avLst/>
                </a:prstTxWarp>
              </a:bodyPr>
              <a:lstStyle/>
              <a:p>
                <a:pPr defTabSz="914192">
                  <a:defRPr/>
                </a:pPr>
                <a:endParaRPr lang="en-US" sz="883" kern="0">
                  <a:gradFill>
                    <a:gsLst>
                      <a:gs pos="0">
                        <a:srgbClr val="505050"/>
                      </a:gs>
                      <a:gs pos="100000">
                        <a:srgbClr val="505050"/>
                      </a:gs>
                    </a:gsLst>
                    <a:lin ang="5400000" scaled="1"/>
                  </a:gradFill>
                </a:endParaRPr>
              </a:p>
            </p:txBody>
          </p:sp>
        </p:grpSp>
      </p:grpSp>
      <p:grpSp>
        <p:nvGrpSpPr>
          <p:cNvPr id="61" name="Group 60">
            <a:extLst>
              <a:ext uri="{FF2B5EF4-FFF2-40B4-BE49-F238E27FC236}">
                <a16:creationId xmlns:a16="http://schemas.microsoft.com/office/drawing/2014/main" id="{CB88F897-4B19-4A1E-9D1D-8257A988EAB1}"/>
              </a:ext>
            </a:extLst>
          </p:cNvPr>
          <p:cNvGrpSpPr/>
          <p:nvPr/>
        </p:nvGrpSpPr>
        <p:grpSpPr>
          <a:xfrm>
            <a:off x="7508987" y="1640953"/>
            <a:ext cx="2811869" cy="542456"/>
            <a:chOff x="7659761" y="2031061"/>
            <a:chExt cx="2868660" cy="553411"/>
          </a:xfrm>
        </p:grpSpPr>
        <p:sp>
          <p:nvSpPr>
            <p:cNvPr id="62" name="Rectangle 61">
              <a:extLst>
                <a:ext uri="{FF2B5EF4-FFF2-40B4-BE49-F238E27FC236}">
                  <a16:creationId xmlns:a16="http://schemas.microsoft.com/office/drawing/2014/main" id="{66FB3FD1-576E-4A3C-8E55-2FE27F5BE486}"/>
                </a:ext>
              </a:extLst>
            </p:cNvPr>
            <p:cNvSpPr/>
            <p:nvPr/>
          </p:nvSpPr>
          <p:spPr>
            <a:xfrm>
              <a:off x="8324910" y="2031061"/>
              <a:ext cx="2203511" cy="553411"/>
            </a:xfrm>
            <a:prstGeom prst="rect">
              <a:avLst/>
            </a:prstGeom>
          </p:spPr>
          <p:txBody>
            <a:bodyPr wrap="square" lIns="0" tIns="0" rIns="0" bIns="0" anchor="t">
              <a:spAutoFit/>
            </a:bodyPr>
            <a:lstStyle/>
            <a:p>
              <a:pPr defTabSz="914261">
                <a:defRPr/>
              </a:pPr>
              <a:r>
                <a:rPr lang="en-US" sz="1175" kern="0">
                  <a:solidFill>
                    <a:srgbClr val="0078D4"/>
                  </a:solidFill>
                  <a:cs typeface="Segoe UI" panose="020B0502040204020203" pitchFamily="34" charset="0"/>
                </a:rPr>
                <a:t>Group devices and control access according to your organization's needs</a:t>
              </a:r>
            </a:p>
          </p:txBody>
        </p:sp>
        <p:grpSp>
          <p:nvGrpSpPr>
            <p:cNvPr id="63" name="Group 62">
              <a:extLst>
                <a:ext uri="{FF2B5EF4-FFF2-40B4-BE49-F238E27FC236}">
                  <a16:creationId xmlns:a16="http://schemas.microsoft.com/office/drawing/2014/main" id="{1853411B-9C23-4C95-A564-535D290295B9}"/>
                </a:ext>
              </a:extLst>
            </p:cNvPr>
            <p:cNvGrpSpPr/>
            <p:nvPr/>
          </p:nvGrpSpPr>
          <p:grpSpPr>
            <a:xfrm>
              <a:off x="7659761" y="2033740"/>
              <a:ext cx="548640" cy="548640"/>
              <a:chOff x="7591347" y="1535710"/>
              <a:chExt cx="731520" cy="731520"/>
            </a:xfrm>
          </p:grpSpPr>
          <p:sp>
            <p:nvSpPr>
              <p:cNvPr id="64" name="Oval 63">
                <a:extLst>
                  <a:ext uri="{FF2B5EF4-FFF2-40B4-BE49-F238E27FC236}">
                    <a16:creationId xmlns:a16="http://schemas.microsoft.com/office/drawing/2014/main" id="{949A3859-A8FE-44B7-98A7-C97F44BEFB04}"/>
                  </a:ext>
                </a:extLst>
              </p:cNvPr>
              <p:cNvSpPr>
                <a:spLocks noChangeAspect="1"/>
              </p:cNvSpPr>
              <p:nvPr/>
            </p:nvSpPr>
            <p:spPr bwMode="auto">
              <a:xfrm>
                <a:off x="7591347" y="1535710"/>
                <a:ext cx="731520" cy="731520"/>
              </a:xfrm>
              <a:prstGeom prst="ellipse">
                <a:avLst/>
              </a:prstGeom>
              <a:solidFill>
                <a:srgbClr val="0070C0"/>
              </a:solidFill>
              <a:ln w="19050"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5" name="Trackers_EADF_bidi" title="Icon of a clipboard with a checklist on it">
                <a:extLst>
                  <a:ext uri="{FF2B5EF4-FFF2-40B4-BE49-F238E27FC236}">
                    <a16:creationId xmlns:a16="http://schemas.microsoft.com/office/drawing/2014/main" id="{D5396E2C-869A-4841-A708-F8AB2CAEFAAC}"/>
                  </a:ext>
                </a:extLst>
              </p:cNvPr>
              <p:cNvSpPr>
                <a:spLocks noChangeAspect="1" noEditPoints="1"/>
              </p:cNvSpPr>
              <p:nvPr/>
            </p:nvSpPr>
            <p:spPr bwMode="auto">
              <a:xfrm>
                <a:off x="7822986" y="1709065"/>
                <a:ext cx="268243"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1" tIns="44814" rIns="89631" bIns="44814" numCol="1" anchor="t" anchorCtr="0" compatLnSpc="1">
                <a:prstTxWarp prst="textNoShape">
                  <a:avLst/>
                </a:prstTxWarp>
              </a:bodyPr>
              <a:lstStyle/>
              <a:p>
                <a:pPr defTabSz="914192">
                  <a:defRPr/>
                </a:pPr>
                <a:endParaRPr lang="en-US" sz="1765" kern="0">
                  <a:solidFill>
                    <a:srgbClr val="000000"/>
                  </a:solidFill>
                </a:endParaRPr>
              </a:p>
            </p:txBody>
          </p:sp>
        </p:grpSp>
      </p:grpSp>
      <p:grpSp>
        <p:nvGrpSpPr>
          <p:cNvPr id="66" name="Group 65">
            <a:extLst>
              <a:ext uri="{FF2B5EF4-FFF2-40B4-BE49-F238E27FC236}">
                <a16:creationId xmlns:a16="http://schemas.microsoft.com/office/drawing/2014/main" id="{8DC22C88-EE26-4A04-8041-A7B1AA0459BF}"/>
              </a:ext>
            </a:extLst>
          </p:cNvPr>
          <p:cNvGrpSpPr>
            <a:grpSpLocks noChangeAspect="1"/>
          </p:cNvGrpSpPr>
          <p:nvPr/>
        </p:nvGrpSpPr>
        <p:grpSpPr>
          <a:xfrm>
            <a:off x="4079331" y="1525077"/>
            <a:ext cx="4033340" cy="4033340"/>
            <a:chOff x="3880525" y="1455782"/>
            <a:chExt cx="4663440" cy="4625264"/>
          </a:xfrm>
        </p:grpSpPr>
        <p:sp>
          <p:nvSpPr>
            <p:cNvPr id="67" name="Arrow: Circular 66">
              <a:extLst>
                <a:ext uri="{FF2B5EF4-FFF2-40B4-BE49-F238E27FC236}">
                  <a16:creationId xmlns:a16="http://schemas.microsoft.com/office/drawing/2014/main" id="{C3B200DF-2AF2-4FFF-85F4-450C35F90BDA}"/>
                </a:ext>
              </a:extLst>
            </p:cNvPr>
            <p:cNvSpPr/>
            <p:nvPr/>
          </p:nvSpPr>
          <p:spPr>
            <a:xfrm>
              <a:off x="4026862" y="1455782"/>
              <a:ext cx="4482451" cy="4454288"/>
            </a:xfrm>
            <a:prstGeom prst="circularArrow">
              <a:avLst>
                <a:gd name="adj1" fmla="val 5085"/>
                <a:gd name="adj2" fmla="val 327528"/>
                <a:gd name="adj3" fmla="val 20192361"/>
                <a:gd name="adj4" fmla="val 16200324"/>
                <a:gd name="adj5" fmla="val 5932"/>
              </a:avLst>
            </a:prstGeom>
            <a:solidFill>
              <a:srgbClr val="0078D4"/>
            </a:solidFill>
            <a:ln>
              <a:noFill/>
            </a:ln>
            <a:effectLst/>
          </p:spPr>
        </p:sp>
        <p:sp>
          <p:nvSpPr>
            <p:cNvPr id="68" name="Arrow: Circular 67">
              <a:extLst>
                <a:ext uri="{FF2B5EF4-FFF2-40B4-BE49-F238E27FC236}">
                  <a16:creationId xmlns:a16="http://schemas.microsoft.com/office/drawing/2014/main" id="{DCEDD49F-695C-487F-B37F-BE2D0D2396B4}"/>
                </a:ext>
              </a:extLst>
            </p:cNvPr>
            <p:cNvSpPr/>
            <p:nvPr/>
          </p:nvSpPr>
          <p:spPr>
            <a:xfrm>
              <a:off x="4061514" y="1561443"/>
              <a:ext cx="4482451" cy="4454288"/>
            </a:xfrm>
            <a:prstGeom prst="circularArrow">
              <a:avLst>
                <a:gd name="adj1" fmla="val 5085"/>
                <a:gd name="adj2" fmla="val 327528"/>
                <a:gd name="adj3" fmla="val 2912753"/>
                <a:gd name="adj4" fmla="val 20519953"/>
                <a:gd name="adj5" fmla="val 5932"/>
              </a:avLst>
            </a:prstGeom>
            <a:solidFill>
              <a:srgbClr val="50E6FF"/>
            </a:solidFill>
            <a:ln>
              <a:noFill/>
            </a:ln>
            <a:effectLst/>
          </p:spPr>
        </p:sp>
        <p:sp>
          <p:nvSpPr>
            <p:cNvPr id="69" name="Arrow: Circular 68">
              <a:extLst>
                <a:ext uri="{FF2B5EF4-FFF2-40B4-BE49-F238E27FC236}">
                  <a16:creationId xmlns:a16="http://schemas.microsoft.com/office/drawing/2014/main" id="{53FE4486-165C-4339-B113-90327EC358FF}"/>
                </a:ext>
              </a:extLst>
            </p:cNvPr>
            <p:cNvSpPr/>
            <p:nvPr/>
          </p:nvSpPr>
          <p:spPr>
            <a:xfrm>
              <a:off x="3971019" y="1626758"/>
              <a:ext cx="4482451" cy="4454288"/>
            </a:xfrm>
            <a:prstGeom prst="circularArrow">
              <a:avLst>
                <a:gd name="adj1" fmla="val 5085"/>
                <a:gd name="adj2" fmla="val 327528"/>
                <a:gd name="adj3" fmla="val 7232777"/>
                <a:gd name="adj4" fmla="val 3239695"/>
                <a:gd name="adj5" fmla="val 5932"/>
              </a:avLst>
            </a:prstGeom>
            <a:solidFill>
              <a:srgbClr val="7030A0"/>
            </a:solidFill>
            <a:ln>
              <a:noFill/>
            </a:ln>
            <a:effectLst/>
          </p:spPr>
        </p:sp>
        <p:sp>
          <p:nvSpPr>
            <p:cNvPr id="70" name="Arrow: Circular 69">
              <a:extLst>
                <a:ext uri="{FF2B5EF4-FFF2-40B4-BE49-F238E27FC236}">
                  <a16:creationId xmlns:a16="http://schemas.microsoft.com/office/drawing/2014/main" id="{7A0D0827-ED41-4D80-A177-621F449A57B4}"/>
                </a:ext>
              </a:extLst>
            </p:cNvPr>
            <p:cNvSpPr/>
            <p:nvPr/>
          </p:nvSpPr>
          <p:spPr>
            <a:xfrm>
              <a:off x="3880525" y="1561443"/>
              <a:ext cx="4482451" cy="4454288"/>
            </a:xfrm>
            <a:prstGeom prst="circularArrow">
              <a:avLst>
                <a:gd name="adj1" fmla="val 5085"/>
                <a:gd name="adj2" fmla="val 327528"/>
                <a:gd name="adj3" fmla="val 11552519"/>
                <a:gd name="adj4" fmla="val 7559718"/>
                <a:gd name="adj5" fmla="val 5932"/>
              </a:avLst>
            </a:prstGeom>
            <a:solidFill>
              <a:srgbClr val="00B050"/>
            </a:solidFill>
            <a:ln>
              <a:noFill/>
            </a:ln>
            <a:effectLst/>
          </p:spPr>
        </p:sp>
        <p:sp>
          <p:nvSpPr>
            <p:cNvPr id="71" name="Arrow: Circular 70">
              <a:extLst>
                <a:ext uri="{FF2B5EF4-FFF2-40B4-BE49-F238E27FC236}">
                  <a16:creationId xmlns:a16="http://schemas.microsoft.com/office/drawing/2014/main" id="{812EDB0C-16D0-4BD5-B437-1E9FD1E2E10C}"/>
                </a:ext>
              </a:extLst>
            </p:cNvPr>
            <p:cNvSpPr/>
            <p:nvPr/>
          </p:nvSpPr>
          <p:spPr>
            <a:xfrm>
              <a:off x="3915177" y="1455782"/>
              <a:ext cx="4482451" cy="4454288"/>
            </a:xfrm>
            <a:prstGeom prst="circularArrow">
              <a:avLst>
                <a:gd name="adj1" fmla="val 5085"/>
                <a:gd name="adj2" fmla="val 327528"/>
                <a:gd name="adj3" fmla="val 15872148"/>
                <a:gd name="adj4" fmla="val 11880111"/>
                <a:gd name="adj5" fmla="val 5932"/>
              </a:avLst>
            </a:prstGeom>
            <a:solidFill>
              <a:srgbClr val="FFC000"/>
            </a:solidFill>
            <a:ln>
              <a:noFill/>
            </a:ln>
            <a:effectLst/>
          </p:spPr>
          <p:txBody>
            <a:bodyPr/>
            <a:lstStyle/>
            <a:p>
              <a:endParaRPr lang="en-US" dirty="0"/>
            </a:p>
          </p:txBody>
        </p:sp>
      </p:grpSp>
      <p:grpSp>
        <p:nvGrpSpPr>
          <p:cNvPr id="72" name="Group 71">
            <a:extLst>
              <a:ext uri="{FF2B5EF4-FFF2-40B4-BE49-F238E27FC236}">
                <a16:creationId xmlns:a16="http://schemas.microsoft.com/office/drawing/2014/main" id="{DDFB621F-953B-4DC4-A44E-50EFF5086B3B}"/>
              </a:ext>
            </a:extLst>
          </p:cNvPr>
          <p:cNvGrpSpPr/>
          <p:nvPr/>
        </p:nvGrpSpPr>
        <p:grpSpPr>
          <a:xfrm>
            <a:off x="5876099" y="5559377"/>
            <a:ext cx="3050399" cy="547304"/>
            <a:chOff x="5993893" y="6028620"/>
            <a:chExt cx="3112008" cy="558357"/>
          </a:xfrm>
        </p:grpSpPr>
        <p:sp>
          <p:nvSpPr>
            <p:cNvPr id="73" name="Rectangle 72">
              <a:extLst>
                <a:ext uri="{FF2B5EF4-FFF2-40B4-BE49-F238E27FC236}">
                  <a16:creationId xmlns:a16="http://schemas.microsoft.com/office/drawing/2014/main" id="{0DC93D3F-8E40-458E-9069-FBCBBF8CF742}"/>
                </a:ext>
              </a:extLst>
            </p:cNvPr>
            <p:cNvSpPr/>
            <p:nvPr/>
          </p:nvSpPr>
          <p:spPr>
            <a:xfrm>
              <a:off x="6665198" y="6028620"/>
              <a:ext cx="2440703" cy="553411"/>
            </a:xfrm>
            <a:prstGeom prst="rect">
              <a:avLst/>
            </a:prstGeom>
          </p:spPr>
          <p:txBody>
            <a:bodyPr wrap="square" lIns="0" tIns="0" rIns="0" bIns="0" anchor="t">
              <a:spAutoFit/>
            </a:bodyPr>
            <a:lstStyle/>
            <a:p>
              <a:pPr defTabSz="914261">
                <a:defRPr/>
              </a:pPr>
              <a:r>
                <a:rPr lang="en-US" sz="1175" kern="0">
                  <a:solidFill>
                    <a:srgbClr val="7030A0"/>
                  </a:solidFill>
                  <a:cs typeface="Segoe UI" panose="020B0502040204020203" pitchFamily="34" charset="0"/>
                </a:rPr>
                <a:t>Provide updates, configuration and applications to assign the purpose of each device</a:t>
              </a:r>
            </a:p>
          </p:txBody>
        </p:sp>
        <p:grpSp>
          <p:nvGrpSpPr>
            <p:cNvPr id="74" name="Group 73">
              <a:extLst>
                <a:ext uri="{FF2B5EF4-FFF2-40B4-BE49-F238E27FC236}">
                  <a16:creationId xmlns:a16="http://schemas.microsoft.com/office/drawing/2014/main" id="{1A081E10-9BD8-4585-97B1-B539D44884F4}"/>
                </a:ext>
              </a:extLst>
            </p:cNvPr>
            <p:cNvGrpSpPr/>
            <p:nvPr/>
          </p:nvGrpSpPr>
          <p:grpSpPr>
            <a:xfrm>
              <a:off x="5993893" y="6043182"/>
              <a:ext cx="547234" cy="543795"/>
              <a:chOff x="5621953" y="5964865"/>
              <a:chExt cx="731520" cy="731520"/>
            </a:xfrm>
          </p:grpSpPr>
          <p:sp>
            <p:nvSpPr>
              <p:cNvPr id="75" name="Oval 74">
                <a:extLst>
                  <a:ext uri="{FF2B5EF4-FFF2-40B4-BE49-F238E27FC236}">
                    <a16:creationId xmlns:a16="http://schemas.microsoft.com/office/drawing/2014/main" id="{4AD6D4CC-118A-4C7D-A3E3-328001FDD343}"/>
                  </a:ext>
                </a:extLst>
              </p:cNvPr>
              <p:cNvSpPr>
                <a:spLocks noChangeAspect="1"/>
              </p:cNvSpPr>
              <p:nvPr/>
            </p:nvSpPr>
            <p:spPr bwMode="auto">
              <a:xfrm>
                <a:off x="5621953" y="5964865"/>
                <a:ext cx="731520" cy="731520"/>
              </a:xfrm>
              <a:prstGeom prst="ellipse">
                <a:avLst/>
              </a:prstGeom>
              <a:solidFill>
                <a:srgbClr val="7030A0"/>
              </a:solidFill>
              <a:ln w="19050"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Touchscreen" title="Icon of a closed hand with one finger touching a screen">
                <a:extLst>
                  <a:ext uri="{FF2B5EF4-FFF2-40B4-BE49-F238E27FC236}">
                    <a16:creationId xmlns:a16="http://schemas.microsoft.com/office/drawing/2014/main" id="{A5794AD2-6573-4734-A99D-FD75FB829B39}"/>
                  </a:ext>
                </a:extLst>
              </p:cNvPr>
              <p:cNvSpPr>
                <a:spLocks noChangeAspect="1" noEditPoints="1"/>
              </p:cNvSpPr>
              <p:nvPr/>
            </p:nvSpPr>
            <p:spPr bwMode="auto">
              <a:xfrm>
                <a:off x="5787804" y="6185125"/>
                <a:ext cx="390103" cy="36576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1" tIns="44814" rIns="89631" bIns="44814" numCol="1" anchor="t" anchorCtr="0" compatLnSpc="1">
                <a:prstTxWarp prst="textNoShape">
                  <a:avLst/>
                </a:prstTxWarp>
              </a:bodyPr>
              <a:lstStyle/>
              <a:p>
                <a:pPr defTabSz="914192">
                  <a:defRPr/>
                </a:pPr>
                <a:endParaRPr lang="en-US" sz="883" kern="0">
                  <a:gradFill>
                    <a:gsLst>
                      <a:gs pos="0">
                        <a:srgbClr val="505050"/>
                      </a:gs>
                      <a:gs pos="100000">
                        <a:srgbClr val="505050"/>
                      </a:gs>
                    </a:gsLst>
                  </a:gradFill>
                </a:endParaRPr>
              </a:p>
            </p:txBody>
          </p:sp>
        </p:grpSp>
      </p:grpSp>
      <p:grpSp>
        <p:nvGrpSpPr>
          <p:cNvPr id="77" name="Group 76">
            <a:extLst>
              <a:ext uri="{FF2B5EF4-FFF2-40B4-BE49-F238E27FC236}">
                <a16:creationId xmlns:a16="http://schemas.microsoft.com/office/drawing/2014/main" id="{CC9094C6-400E-4B2B-B57C-CA8C3EA28E00}"/>
              </a:ext>
            </a:extLst>
          </p:cNvPr>
          <p:cNvGrpSpPr/>
          <p:nvPr/>
        </p:nvGrpSpPr>
        <p:grpSpPr>
          <a:xfrm>
            <a:off x="8099512" y="3701889"/>
            <a:ext cx="2694273" cy="542730"/>
            <a:chOff x="8262212" y="4133622"/>
            <a:chExt cx="2748688" cy="553691"/>
          </a:xfrm>
        </p:grpSpPr>
        <p:sp>
          <p:nvSpPr>
            <p:cNvPr id="78" name="Rectangle 77">
              <a:extLst>
                <a:ext uri="{FF2B5EF4-FFF2-40B4-BE49-F238E27FC236}">
                  <a16:creationId xmlns:a16="http://schemas.microsoft.com/office/drawing/2014/main" id="{54F5D184-3F0B-4803-A9FA-5F5206141AD4}"/>
                </a:ext>
              </a:extLst>
            </p:cNvPr>
            <p:cNvSpPr/>
            <p:nvPr/>
          </p:nvSpPr>
          <p:spPr>
            <a:xfrm>
              <a:off x="8976554" y="4133622"/>
              <a:ext cx="2034346" cy="553691"/>
            </a:xfrm>
            <a:prstGeom prst="rect">
              <a:avLst/>
            </a:prstGeom>
          </p:spPr>
          <p:txBody>
            <a:bodyPr wrap="square" lIns="0" tIns="0" rIns="0" bIns="0" anchor="t">
              <a:spAutoFit/>
            </a:bodyPr>
            <a:lstStyle/>
            <a:p>
              <a:pPr defTabSz="914261">
                <a:defRPr/>
              </a:pPr>
              <a:r>
                <a:rPr lang="en-US" sz="1175" kern="0">
                  <a:solidFill>
                    <a:srgbClr val="50E6FF">
                      <a:lumMod val="75000"/>
                    </a:srgbClr>
                  </a:solidFill>
                  <a:cs typeface="Segoe UI" panose="020B0502040204020203" pitchFamily="34" charset="0"/>
                </a:rPr>
                <a:t>Securely authenticate devices, on-board for management and provision for service</a:t>
              </a:r>
            </a:p>
          </p:txBody>
        </p:sp>
        <p:grpSp>
          <p:nvGrpSpPr>
            <p:cNvPr id="79" name="Group 78">
              <a:extLst>
                <a:ext uri="{FF2B5EF4-FFF2-40B4-BE49-F238E27FC236}">
                  <a16:creationId xmlns:a16="http://schemas.microsoft.com/office/drawing/2014/main" id="{917ED397-102D-415A-8C87-0CB4031A33BD}"/>
                </a:ext>
              </a:extLst>
            </p:cNvPr>
            <p:cNvGrpSpPr/>
            <p:nvPr/>
          </p:nvGrpSpPr>
          <p:grpSpPr>
            <a:xfrm>
              <a:off x="8262212" y="4136301"/>
              <a:ext cx="548640" cy="548640"/>
              <a:chOff x="8155046" y="4289191"/>
              <a:chExt cx="731520" cy="731520"/>
            </a:xfrm>
          </p:grpSpPr>
          <p:sp>
            <p:nvSpPr>
              <p:cNvPr id="80" name="Oval 79">
                <a:extLst>
                  <a:ext uri="{FF2B5EF4-FFF2-40B4-BE49-F238E27FC236}">
                    <a16:creationId xmlns:a16="http://schemas.microsoft.com/office/drawing/2014/main" id="{FBBE4B73-3F69-47FA-A147-DEF485109A0B}"/>
                  </a:ext>
                </a:extLst>
              </p:cNvPr>
              <p:cNvSpPr>
                <a:spLocks noChangeAspect="1"/>
              </p:cNvSpPr>
              <p:nvPr/>
            </p:nvSpPr>
            <p:spPr bwMode="auto">
              <a:xfrm>
                <a:off x="8155046" y="4289191"/>
                <a:ext cx="731520" cy="731520"/>
              </a:xfrm>
              <a:prstGeom prst="ellipse">
                <a:avLst/>
              </a:prstGeom>
              <a:solidFill>
                <a:srgbClr val="50E6FF">
                  <a:lumMod val="75000"/>
                </a:srgbClr>
              </a:solidFill>
              <a:ln w="19050"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phone_6" title="Icon of a cellphone with a checkmark on the lower right corner">
                <a:extLst>
                  <a:ext uri="{FF2B5EF4-FFF2-40B4-BE49-F238E27FC236}">
                    <a16:creationId xmlns:a16="http://schemas.microsoft.com/office/drawing/2014/main" id="{FFB98C84-99E1-4275-955A-9D8BBFD54C8B}"/>
                  </a:ext>
                </a:extLst>
              </p:cNvPr>
              <p:cNvSpPr>
                <a:spLocks noChangeAspect="1" noEditPoints="1"/>
              </p:cNvSpPr>
              <p:nvPr/>
            </p:nvSpPr>
            <p:spPr bwMode="auto">
              <a:xfrm>
                <a:off x="8413339" y="4472071"/>
                <a:ext cx="291134" cy="365760"/>
              </a:xfrm>
              <a:custGeom>
                <a:avLst/>
                <a:gdLst>
                  <a:gd name="T0" fmla="*/ 116 w 229"/>
                  <a:gd name="T1" fmla="*/ 290 h 290"/>
                  <a:gd name="T2" fmla="*/ 14 w 229"/>
                  <a:gd name="T3" fmla="*/ 290 h 290"/>
                  <a:gd name="T4" fmla="*/ 0 w 229"/>
                  <a:gd name="T5" fmla="*/ 277 h 290"/>
                  <a:gd name="T6" fmla="*/ 0 w 229"/>
                  <a:gd name="T7" fmla="*/ 14 h 290"/>
                  <a:gd name="T8" fmla="*/ 14 w 229"/>
                  <a:gd name="T9" fmla="*/ 0 h 290"/>
                  <a:gd name="T10" fmla="*/ 159 w 229"/>
                  <a:gd name="T11" fmla="*/ 0 h 290"/>
                  <a:gd name="T12" fmla="*/ 172 w 229"/>
                  <a:gd name="T13" fmla="*/ 14 h 290"/>
                  <a:gd name="T14" fmla="*/ 172 w 229"/>
                  <a:gd name="T15" fmla="*/ 211 h 290"/>
                  <a:gd name="T16" fmla="*/ 123 w 229"/>
                  <a:gd name="T17" fmla="*/ 246 h 290"/>
                  <a:gd name="T18" fmla="*/ 155 w 229"/>
                  <a:gd name="T19" fmla="*/ 277 h 290"/>
                  <a:gd name="T20" fmla="*/ 229 w 229"/>
                  <a:gd name="T21" fmla="*/ 203 h 290"/>
                  <a:gd name="T22" fmla="*/ 59 w 229"/>
                  <a:gd name="T23" fmla="*/ 250 h 290"/>
                  <a:gd name="T24" fmla="*/ 84 w 229"/>
                  <a:gd name="T25" fmla="*/ 25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90">
                    <a:moveTo>
                      <a:pt x="116" y="290"/>
                    </a:moveTo>
                    <a:cubicBezTo>
                      <a:pt x="14" y="290"/>
                      <a:pt x="14" y="290"/>
                      <a:pt x="14" y="290"/>
                    </a:cubicBezTo>
                    <a:cubicBezTo>
                      <a:pt x="7" y="290"/>
                      <a:pt x="0" y="284"/>
                      <a:pt x="0" y="277"/>
                    </a:cubicBezTo>
                    <a:cubicBezTo>
                      <a:pt x="0" y="14"/>
                      <a:pt x="0" y="14"/>
                      <a:pt x="0" y="14"/>
                    </a:cubicBezTo>
                    <a:cubicBezTo>
                      <a:pt x="0" y="7"/>
                      <a:pt x="7" y="0"/>
                      <a:pt x="14" y="0"/>
                    </a:cubicBezTo>
                    <a:cubicBezTo>
                      <a:pt x="159" y="0"/>
                      <a:pt x="159" y="0"/>
                      <a:pt x="159" y="0"/>
                    </a:cubicBezTo>
                    <a:cubicBezTo>
                      <a:pt x="166" y="0"/>
                      <a:pt x="172" y="7"/>
                      <a:pt x="172" y="14"/>
                    </a:cubicBezTo>
                    <a:cubicBezTo>
                      <a:pt x="172" y="211"/>
                      <a:pt x="172" y="211"/>
                      <a:pt x="172" y="211"/>
                    </a:cubicBezTo>
                    <a:moveTo>
                      <a:pt x="123" y="246"/>
                    </a:moveTo>
                    <a:cubicBezTo>
                      <a:pt x="155" y="277"/>
                      <a:pt x="155" y="277"/>
                      <a:pt x="155" y="277"/>
                    </a:cubicBezTo>
                    <a:cubicBezTo>
                      <a:pt x="229" y="203"/>
                      <a:pt x="229" y="203"/>
                      <a:pt x="229" y="203"/>
                    </a:cubicBezTo>
                    <a:moveTo>
                      <a:pt x="59" y="250"/>
                    </a:moveTo>
                    <a:cubicBezTo>
                      <a:pt x="84" y="250"/>
                      <a:pt x="84" y="250"/>
                      <a:pt x="84" y="250"/>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1" tIns="44814" rIns="89631" bIns="44814" numCol="1" anchor="t" anchorCtr="0" compatLnSpc="1">
                <a:prstTxWarp prst="textNoShape">
                  <a:avLst/>
                </a:prstTxWarp>
              </a:bodyPr>
              <a:lstStyle/>
              <a:p>
                <a:pPr defTabSz="914192">
                  <a:defRPr/>
                </a:pPr>
                <a:endParaRPr lang="en-US" sz="1765" kern="0">
                  <a:solidFill>
                    <a:srgbClr val="000000"/>
                  </a:solidFill>
                </a:endParaRPr>
              </a:p>
            </p:txBody>
          </p:sp>
        </p:grpSp>
      </p:grpSp>
      <p:grpSp>
        <p:nvGrpSpPr>
          <p:cNvPr id="82" name="Group 81">
            <a:extLst>
              <a:ext uri="{FF2B5EF4-FFF2-40B4-BE49-F238E27FC236}">
                <a16:creationId xmlns:a16="http://schemas.microsoft.com/office/drawing/2014/main" id="{61BAA791-514B-401A-B369-E119CC289750}"/>
              </a:ext>
            </a:extLst>
          </p:cNvPr>
          <p:cNvGrpSpPr/>
          <p:nvPr/>
        </p:nvGrpSpPr>
        <p:grpSpPr>
          <a:xfrm>
            <a:off x="1086581" y="3701891"/>
            <a:ext cx="3005531" cy="542456"/>
            <a:chOff x="1107642" y="4133622"/>
            <a:chExt cx="3066233" cy="553411"/>
          </a:xfrm>
        </p:grpSpPr>
        <p:sp>
          <p:nvSpPr>
            <p:cNvPr id="83" name="Rectangle 82">
              <a:extLst>
                <a:ext uri="{FF2B5EF4-FFF2-40B4-BE49-F238E27FC236}">
                  <a16:creationId xmlns:a16="http://schemas.microsoft.com/office/drawing/2014/main" id="{1A7C44CE-AEAE-45E6-952E-64280F5C3D94}"/>
                </a:ext>
              </a:extLst>
            </p:cNvPr>
            <p:cNvSpPr/>
            <p:nvPr/>
          </p:nvSpPr>
          <p:spPr>
            <a:xfrm>
              <a:off x="1107642" y="4133622"/>
              <a:ext cx="2427445" cy="553411"/>
            </a:xfrm>
            <a:prstGeom prst="rect">
              <a:avLst/>
            </a:prstGeom>
          </p:spPr>
          <p:txBody>
            <a:bodyPr wrap="square" lIns="0" tIns="0" rIns="0" bIns="0" anchor="t">
              <a:spAutoFit/>
            </a:bodyPr>
            <a:lstStyle/>
            <a:p>
              <a:pPr algn="r" defTabSz="914261">
                <a:defRPr/>
              </a:pPr>
              <a:r>
                <a:rPr lang="en-US" sz="1175" kern="0">
                  <a:solidFill>
                    <a:srgbClr val="00B050"/>
                  </a:solidFill>
                  <a:cs typeface="Segoe UI" panose="020B0502040204020203" pitchFamily="34" charset="0"/>
                </a:rPr>
                <a:t>Monitor device inventory, health and security while providing proactive remediation of issues</a:t>
              </a:r>
            </a:p>
          </p:txBody>
        </p:sp>
        <p:grpSp>
          <p:nvGrpSpPr>
            <p:cNvPr id="84" name="Group 83">
              <a:extLst>
                <a:ext uri="{FF2B5EF4-FFF2-40B4-BE49-F238E27FC236}">
                  <a16:creationId xmlns:a16="http://schemas.microsoft.com/office/drawing/2014/main" id="{B25B230E-A42D-4BAD-A9FC-0CE8660C7175}"/>
                </a:ext>
              </a:extLst>
            </p:cNvPr>
            <p:cNvGrpSpPr/>
            <p:nvPr/>
          </p:nvGrpSpPr>
          <p:grpSpPr>
            <a:xfrm>
              <a:off x="3625235" y="4136301"/>
              <a:ext cx="548640" cy="548640"/>
              <a:chOff x="910589" y="5808754"/>
              <a:chExt cx="731520" cy="731520"/>
            </a:xfrm>
          </p:grpSpPr>
          <p:sp>
            <p:nvSpPr>
              <p:cNvPr id="85" name="Oval 84">
                <a:extLst>
                  <a:ext uri="{FF2B5EF4-FFF2-40B4-BE49-F238E27FC236}">
                    <a16:creationId xmlns:a16="http://schemas.microsoft.com/office/drawing/2014/main" id="{2C986401-86B4-442E-9120-CA33284F54EE}"/>
                  </a:ext>
                </a:extLst>
              </p:cNvPr>
              <p:cNvSpPr>
                <a:spLocks noChangeAspect="1"/>
              </p:cNvSpPr>
              <p:nvPr/>
            </p:nvSpPr>
            <p:spPr bwMode="auto">
              <a:xfrm>
                <a:off x="910589" y="5808754"/>
                <a:ext cx="731520" cy="731520"/>
              </a:xfrm>
              <a:prstGeom prst="ellipse">
                <a:avLst/>
              </a:prstGeom>
              <a:solidFill>
                <a:srgbClr val="00B050"/>
              </a:solidFill>
              <a:ln w="19050"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algorithm" title="Icon of a heartbeat">
                <a:extLst>
                  <a:ext uri="{FF2B5EF4-FFF2-40B4-BE49-F238E27FC236}">
                    <a16:creationId xmlns:a16="http://schemas.microsoft.com/office/drawing/2014/main" id="{A877CEE5-F9E5-4C30-BA94-65BEF96BAEBD}"/>
                  </a:ext>
                </a:extLst>
              </p:cNvPr>
              <p:cNvSpPr>
                <a:spLocks noChangeAspect="1" noEditPoints="1"/>
              </p:cNvSpPr>
              <p:nvPr/>
            </p:nvSpPr>
            <p:spPr bwMode="auto">
              <a:xfrm>
                <a:off x="1046047" y="6011770"/>
                <a:ext cx="422504" cy="365760"/>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p>
                <a:pPr defTabSz="914192">
                  <a:defRPr/>
                </a:pPr>
                <a:endParaRPr lang="en-US" sz="1765" kern="0">
                  <a:solidFill>
                    <a:srgbClr val="000000"/>
                  </a:solidFill>
                </a:endParaRPr>
              </a:p>
            </p:txBody>
          </p:sp>
        </p:grpSp>
      </p:grpSp>
    </p:spTree>
    <p:extLst>
      <p:ext uri="{BB962C8B-B14F-4D97-AF65-F5344CB8AC3E}">
        <p14:creationId xmlns:p14="http://schemas.microsoft.com/office/powerpoint/2010/main" val="128520963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1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0.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11.xml><?xml version="1.0" encoding="utf-8"?>
<a:theme xmlns:a="http://schemas.openxmlformats.org/drawingml/2006/main" name="2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2.xml><?xml version="1.0" encoding="utf-8"?>
<a:theme xmlns:a="http://schemas.openxmlformats.org/drawingml/2006/main" name="3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3.xml><?xml version="1.0" encoding="utf-8"?>
<a:theme xmlns:a="http://schemas.openxmlformats.org/drawingml/2006/main" name="1_WHITE TEMPLATE">
  <a:themeElements>
    <a:clrScheme name="BT - Dark Blue - white background">
      <a:dk1>
        <a:srgbClr val="353535"/>
      </a:dk1>
      <a:lt1>
        <a:srgbClr val="FFFFFF"/>
      </a:lt1>
      <a:dk2>
        <a:srgbClr val="002050"/>
      </a:dk2>
      <a:lt2>
        <a:srgbClr val="EAEAEA"/>
      </a:lt2>
      <a:accent1>
        <a:srgbClr val="002050"/>
      </a:accent1>
      <a:accent2>
        <a:srgbClr val="0078D7"/>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2.potx" id="{0B806ACF-E152-4886-8748-3B76BD7ED622}" vid="{E7F13FD8-A640-4E35-8F61-306DA1D17B81}"/>
    </a:ext>
  </a:extLst>
</a:theme>
</file>

<file path=ppt/theme/theme14.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15.xml><?xml version="1.0" encoding="utf-8"?>
<a:theme xmlns:a="http://schemas.openxmlformats.org/drawingml/2006/main" name="2_WHITE TEMPLATE">
  <a:themeElements>
    <a:clrScheme name="BT - Dark Blue - white background">
      <a:dk1>
        <a:srgbClr val="353535"/>
      </a:dk1>
      <a:lt1>
        <a:srgbClr val="FFFFFF"/>
      </a:lt1>
      <a:dk2>
        <a:srgbClr val="002050"/>
      </a:dk2>
      <a:lt2>
        <a:srgbClr val="EAEAEA"/>
      </a:lt2>
      <a:accent1>
        <a:srgbClr val="002050"/>
      </a:accent1>
      <a:accent2>
        <a:srgbClr val="0078D7"/>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2.potx" id="{0B806ACF-E152-4886-8748-3B76BD7ED622}" vid="{E7F13FD8-A640-4E35-8F61-306DA1D17B81}"/>
    </a:ext>
  </a:extLst>
</a:theme>
</file>

<file path=ppt/theme/theme16.xml><?xml version="1.0" encoding="utf-8"?>
<a:theme xmlns:a="http://schemas.openxmlformats.org/drawingml/2006/main" name="1_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17.xml><?xml version="1.0" encoding="utf-8"?>
<a:theme xmlns:a="http://schemas.openxmlformats.org/drawingml/2006/main" name="4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8.xml><?xml version="1.0" encoding="utf-8"?>
<a:theme xmlns:a="http://schemas.openxmlformats.org/drawingml/2006/main" name="5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9.xml><?xml version="1.0" encoding="utf-8"?>
<a:theme xmlns:a="http://schemas.openxmlformats.org/drawingml/2006/main" name="1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B8F53374-45FC-4FE2-A734-987B38B4F728}" vid="{275E48DB-F7F1-47EF-AD59-BC93EEF78B96}"/>
    </a:ext>
  </a:extLst>
</a:theme>
</file>

<file path=ppt/theme/theme20.xml><?xml version="1.0" encoding="utf-8"?>
<a:theme xmlns:a="http://schemas.openxmlformats.org/drawingml/2006/main" name="2_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oT Summit">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STER-16_9_Microsoft_Azure.pptx" id="{CB2F00D6-8B2E-48B4-BBEB-A9DFE81F43FF}" vid="{D4AA22CE-2EB6-4D58-AC1F-AD8246D21621}"/>
    </a:ext>
  </a:extLst>
</a:theme>
</file>

<file path=ppt/theme/theme4.xml><?xml version="1.0" encoding="utf-8"?>
<a:theme xmlns:a="http://schemas.openxmlformats.org/drawingml/2006/main" name="1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5.xml><?xml version="1.0" encoding="utf-8"?>
<a:theme xmlns:a="http://schemas.openxmlformats.org/drawingml/2006/main" name="1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6.xml><?xml version="1.0" encoding="utf-8"?>
<a:theme xmlns:a="http://schemas.openxmlformats.org/drawingml/2006/main" name="Microsoft_Learn_White_Templat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esentation1" id="{A2B4404C-4C97-6145-A86B-A85F76804F3E}" vid="{84A7CE14-D1D3-344C-A42F-A4FA3DE071E1}"/>
    </a:ext>
  </a:extLst>
</a:theme>
</file>

<file path=ppt/theme/theme7.xml><?xml version="1.0" encoding="utf-8"?>
<a:theme xmlns:a="http://schemas.openxmlformats.org/drawingml/2006/main" name="2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8.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9.xml><?xml version="1.0" encoding="utf-8"?>
<a:theme xmlns:a="http://schemas.openxmlformats.org/drawingml/2006/main" name="TR18_BO_CT_Template_16x9">
  <a:themeElements>
    <a:clrScheme name="TR17-Blue">
      <a:dk1>
        <a:srgbClr val="505050"/>
      </a:dk1>
      <a:lt1>
        <a:srgbClr val="FFFFFF"/>
      </a:lt1>
      <a:dk2>
        <a:srgbClr val="0072C6"/>
      </a:dk2>
      <a:lt2>
        <a:srgbClr val="6DC2E9"/>
      </a:lt2>
      <a:accent1>
        <a:srgbClr val="002050"/>
      </a:accent1>
      <a:accent2>
        <a:srgbClr val="007233"/>
      </a:accent2>
      <a:accent3>
        <a:srgbClr val="DC3C00"/>
      </a:accent3>
      <a:accent4>
        <a:srgbClr val="442359"/>
      </a:accent4>
      <a:accent5>
        <a:srgbClr val="B4009E"/>
      </a:accent5>
      <a:accent6>
        <a:srgbClr val="FF8C00"/>
      </a:accent6>
      <a:hlink>
        <a:srgbClr val="E2E584"/>
      </a:hlink>
      <a:folHlink>
        <a:srgbClr val="E2E58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8_BO_CT_Template_16x9" id="{72FF5726-0C02-49D9-AC1A-772C33DADA29}" vid="{49FE85E7-FAD7-4C3F-AE53-D9BCA16F5F2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1C5440DF00361458231CD93B84B4EBD" ma:contentTypeVersion="15" ma:contentTypeDescription="Create a new document." ma:contentTypeScope="" ma:versionID="76dcc76f583e995c2b707a9627c01dd3">
  <xsd:schema xmlns:xsd="http://www.w3.org/2001/XMLSchema" xmlns:xs="http://www.w3.org/2001/XMLSchema" xmlns:p="http://schemas.microsoft.com/office/2006/metadata/properties" xmlns:ns1="http://schemas.microsoft.com/sharepoint/v3" xmlns:ns2="32920a28-a2a2-424f-9212-a42fc62de534" xmlns:ns3="a446482e-8c04-4f10-91f4-5d651528d8f6" targetNamespace="http://schemas.microsoft.com/office/2006/metadata/properties" ma:root="true" ma:fieldsID="d20c7831cf78a95559e0d8abe898fc27" ns1:_="" ns2:_="" ns3:_="">
    <xsd:import namespace="http://schemas.microsoft.com/sharepoint/v3"/>
    <xsd:import namespace="32920a28-a2a2-424f-9212-a42fc62de534"/>
    <xsd:import namespace="a446482e-8c04-4f10-91f4-5d651528d8f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2:MediaServiceAutoTags" minOccurs="0"/>
                <xsd:element ref="ns2:MediaServiceEventHashCode" minOccurs="0"/>
                <xsd:element ref="ns2:MediaServiceGenerationTime" minOccurs="0"/>
                <xsd:element ref="ns2:MediaServiceOCR" minOccurs="0"/>
                <xsd:element ref="ns2:MediaServiceAutoKeyPoints" minOccurs="0"/>
                <xsd:element ref="ns2:MediaServiceKeyPoints" minOccurs="0"/>
                <xsd:element ref="ns1:_ip_UnifiedCompliancePolicyProperties" minOccurs="0"/>
                <xsd:element ref="ns1:_ip_UnifiedCompliancePolicyUIAction"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920a28-a2a2-424f-9212-a42fc62de534"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4" nillable="true" ma:displayName="MediaServiceAutoTags" ma:internalName="MediaServiceAutoTags"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false">
      <xsd:simpleType>
        <xsd:restriction base="dms:Note">
          <xsd:maxLength value="255"/>
        </xsd:restriction>
      </xsd:simpleType>
    </xsd:element>
    <xsd:element name="MediaServiceDateTaken" ma:index="22"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446482e-8c04-4f10-91f4-5d651528d8f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LastSharedByUser" ma:index="12" nillable="true" ma:displayName="Last Shared By User" ma:hidden="true" ma:internalName="LastSharedByUser" ma:readOnly="true">
      <xsd:simpleType>
        <xsd:restriction base="dms:Note"/>
      </xsd:simpleType>
    </xsd:element>
    <xsd:element name="LastSharedByTime" ma:index="13"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a446482e-8c04-4f10-91f4-5d651528d8f6">
      <UserInfo>
        <DisplayName>Jessica Harbin (BRIDGE PARTNERS LLC)</DisplayName>
        <AccountId>80</AccountId>
        <AccountType/>
      </UserInfo>
    </SharedWithUsers>
    <MediaServiceKeyPoints xmlns="32920a28-a2a2-424f-9212-a42fc62de534"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D33158D9-87A7-4EDD-A5FF-F19D04665731}">
  <ds:schemaRefs>
    <ds:schemaRef ds:uri="http://schemas.microsoft.com/sharepoint/v3/contenttype/forms"/>
  </ds:schemaRefs>
</ds:datastoreItem>
</file>

<file path=customXml/itemProps2.xml><?xml version="1.0" encoding="utf-8"?>
<ds:datastoreItem xmlns:ds="http://schemas.openxmlformats.org/officeDocument/2006/customXml" ds:itemID="{95E34B8D-33A8-4D7A-8A73-CD35C9379118}"/>
</file>

<file path=customXml/itemProps3.xml><?xml version="1.0" encoding="utf-8"?>
<ds:datastoreItem xmlns:ds="http://schemas.openxmlformats.org/officeDocument/2006/customXml" ds:itemID="{6B6FA06D-DA79-41E3-989C-44B8E143E50E}">
  <ds:schemaRefs>
    <ds:schemaRef ds:uri="c01e68ff-ba35-4d49-95e5-a716800ab2f9"/>
    <ds:schemaRef ds:uri="d33f47d4-3353-4c47-93a7-37f1bba64da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8c7c6d36-a165-4e76-ab0d-29282b64d3c9"/>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4610</TotalTime>
  <Words>5433</Words>
  <Application>Microsoft Office PowerPoint</Application>
  <PresentationFormat>Widescreen</PresentationFormat>
  <Paragraphs>533</Paragraphs>
  <Slides>25</Slides>
  <Notes>24</Notes>
  <HiddenSlides>0</HiddenSlides>
  <MMClips>0</MMClips>
  <ScaleCrop>false</ScaleCrop>
  <HeadingPairs>
    <vt:vector size="8" baseType="variant">
      <vt:variant>
        <vt:lpstr>Fonts Used</vt:lpstr>
      </vt:variant>
      <vt:variant>
        <vt:i4>12</vt:i4>
      </vt:variant>
      <vt:variant>
        <vt:lpstr>Theme</vt:lpstr>
      </vt:variant>
      <vt:variant>
        <vt:i4>20</vt:i4>
      </vt:variant>
      <vt:variant>
        <vt:lpstr>Embedded OLE Servers</vt:lpstr>
      </vt:variant>
      <vt:variant>
        <vt:i4>1</vt:i4>
      </vt:variant>
      <vt:variant>
        <vt:lpstr>Slide Titles</vt:lpstr>
      </vt:variant>
      <vt:variant>
        <vt:i4>25</vt:i4>
      </vt:variant>
    </vt:vector>
  </HeadingPairs>
  <TitlesOfParts>
    <vt:vector size="58" baseType="lpstr">
      <vt:lpstr>Arial</vt:lpstr>
      <vt:lpstr>Calibri</vt:lpstr>
      <vt:lpstr>Consolas</vt:lpstr>
      <vt:lpstr>Segoe Semibold</vt:lpstr>
      <vt:lpstr>Segoe UI</vt:lpstr>
      <vt:lpstr>Segoe UI (Body)</vt:lpstr>
      <vt:lpstr>Segoe UI Light</vt:lpstr>
      <vt:lpstr>Segoe UI Semibold</vt:lpstr>
      <vt:lpstr>Segoe UI Semilight</vt:lpstr>
      <vt:lpstr>Symbol</vt:lpstr>
      <vt:lpstr>Times</vt:lpstr>
      <vt:lpstr>Wingdings</vt:lpstr>
      <vt:lpstr>Azure 1 template</vt:lpstr>
      <vt:lpstr>Black Template</vt:lpstr>
      <vt:lpstr>IoT Summit</vt:lpstr>
      <vt:lpstr>1_Black Template</vt:lpstr>
      <vt:lpstr>1_Azure 1</vt:lpstr>
      <vt:lpstr>Microsoft_Learn_White_Template</vt:lpstr>
      <vt:lpstr>2_Black Template</vt:lpstr>
      <vt:lpstr>Azure 1</vt:lpstr>
      <vt:lpstr>TR18_BO_CT_Template_16x9</vt:lpstr>
      <vt:lpstr>5-50203_Microsoft_Ignite_Template</vt:lpstr>
      <vt:lpstr>2_Azure 1</vt:lpstr>
      <vt:lpstr>3_Azure 1</vt:lpstr>
      <vt:lpstr>1_WHITE TEMPLATE</vt:lpstr>
      <vt:lpstr>9-51120_Microsoft_Ready_Template_Light</vt:lpstr>
      <vt:lpstr>2_WHITE TEMPLATE</vt:lpstr>
      <vt:lpstr>1_9-51120_Microsoft_Ready_Template_Light</vt:lpstr>
      <vt:lpstr>4_Azure 1</vt:lpstr>
      <vt:lpstr>5_Azure 1</vt:lpstr>
      <vt:lpstr>1_Dynamics 365</vt:lpstr>
      <vt:lpstr>2_9-51120_Microsoft_Ready_Template_Light</vt:lpstr>
      <vt:lpstr>think-cell Slide</vt:lpstr>
      <vt:lpstr>PowerPoint Presentation</vt:lpstr>
      <vt:lpstr>Build end to end IoT Solutions</vt:lpstr>
      <vt:lpstr>Agenda</vt:lpstr>
      <vt:lpstr>IoT Solution Architecture</vt:lpstr>
      <vt:lpstr>Microsoft’s comprehensive IoT product portfolio</vt:lpstr>
      <vt:lpstr>Develop with choice</vt:lpstr>
      <vt:lpstr>PowerPoint Presentation</vt:lpstr>
      <vt:lpstr>Biggest challenges with devices</vt:lpstr>
      <vt:lpstr>IoT Device Management Lifecycle</vt:lpstr>
      <vt:lpstr>Why provisioning is hard today?</vt:lpstr>
      <vt:lpstr>Device Provisioning Service (DPS) brief feature overview</vt:lpstr>
      <vt:lpstr>A Selection of Scenarios</vt:lpstr>
      <vt:lpstr>What is Provisioning?</vt:lpstr>
      <vt:lpstr>Provision Challenges</vt:lpstr>
      <vt:lpstr>IoT Hub Device Provisioning Service</vt:lpstr>
      <vt:lpstr>Provisioning with IoT Hub Device Provisioning Service</vt:lpstr>
      <vt:lpstr>Re-Provisioning at Scale</vt:lpstr>
      <vt:lpstr>IoT Hub &amp; Device Provisioning Service Support </vt:lpstr>
      <vt:lpstr>Simplifying IoT with developer tools</vt:lpstr>
      <vt:lpstr>Demo: Cheese Cave  Provisioning devices to monitor and control temperature &amp; humidity</vt:lpstr>
      <vt:lpstr>Resources</vt:lpstr>
      <vt:lpstr>PowerPoint Presentation</vt:lpstr>
      <vt:lpstr>PowerPoint Presentation</vt:lpstr>
      <vt:lpstr>We would love to hear from you!  Would you please tell the Azure IoT engineering team about your development processes and tools? By completing this very short (&lt;4 minute) survey?  http://aka.ms/EmbeddedDevResearch</vt:lpstr>
      <vt:lpstr>Live Q&amp;A  Thank you!  IoT Arch Reference: https://aka.ms/iotrefarchitecture Azure Account Signup: https://aka.ms/get-started-azure-2021 Azure IoT Central: https://apps.azureiotcentral.com/myapps Cloud Skills Challenge: https://aka.ms/30DaysCSC/IoT  MS Learn: https://aka.ms/mslearniot MSFT IoT Developer Video Channel: https://aka.ms/msiotdevs IoT Tech Community: https://aka.ms/iottechcommunity Azure IoT Docs: https://docs.microsoft.com/en-us/azure/iot-fundamental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ter Kennedy</dc:creator>
  <cp:lastModifiedBy>Pamela Cortez</cp:lastModifiedBy>
  <cp:revision>106</cp:revision>
  <dcterms:created xsi:type="dcterms:W3CDTF">2020-09-22T18:25:46Z</dcterms:created>
  <dcterms:modified xsi:type="dcterms:W3CDTF">2021-03-29T23:1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etDate">
    <vt:lpwstr>2020-09-22T18:25:46Z</vt:lpwstr>
  </property>
  <property fmtid="{D5CDD505-2E9C-101B-9397-08002B2CF9AE}" pid="4" name="MSIP_Label_f42aa342-8706-4288-bd11-ebb85995028c_Method">
    <vt:lpwstr>Standard</vt:lpwstr>
  </property>
  <property fmtid="{D5CDD505-2E9C-101B-9397-08002B2CF9AE}" pid="5" name="MSIP_Label_f42aa342-8706-4288-bd11-ebb85995028c_Name">
    <vt:lpwstr>Internal</vt:lpwstr>
  </property>
  <property fmtid="{D5CDD505-2E9C-101B-9397-08002B2CF9AE}" pid="6" name="MSIP_Label_f42aa342-8706-4288-bd11-ebb85995028c_SiteId">
    <vt:lpwstr>72f988bf-86f1-41af-91ab-2d7cd011db47</vt:lpwstr>
  </property>
  <property fmtid="{D5CDD505-2E9C-101B-9397-08002B2CF9AE}" pid="7" name="MSIP_Label_f42aa342-8706-4288-bd11-ebb85995028c_ActionId">
    <vt:lpwstr>0e288a68-516b-4f89-9aa9-0b1cc8750d82</vt:lpwstr>
  </property>
  <property fmtid="{D5CDD505-2E9C-101B-9397-08002B2CF9AE}" pid="8" name="MSIP_Label_f42aa342-8706-4288-bd11-ebb85995028c_ContentBits">
    <vt:lpwstr>0</vt:lpwstr>
  </property>
  <property fmtid="{D5CDD505-2E9C-101B-9397-08002B2CF9AE}" pid="9" name="ContentTypeId">
    <vt:lpwstr>0x010100F1C5440DF00361458231CD93B84B4EBD</vt:lpwstr>
  </property>
</Properties>
</file>